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5"/>
  </p:sldMasterIdLst>
  <p:notesMasterIdLst>
    <p:notesMasterId r:id="rId21"/>
  </p:notesMasterIdLst>
  <p:handoutMasterIdLst>
    <p:handoutMasterId r:id="rId22"/>
  </p:handoutMasterIdLst>
  <p:sldIdLst>
    <p:sldId id="294" r:id="rId6"/>
    <p:sldId id="278" r:id="rId7"/>
    <p:sldId id="8136" r:id="rId8"/>
    <p:sldId id="8132" r:id="rId9"/>
    <p:sldId id="454" r:id="rId10"/>
    <p:sldId id="8154" r:id="rId11"/>
    <p:sldId id="459" r:id="rId12"/>
    <p:sldId id="461" r:id="rId13"/>
    <p:sldId id="462" r:id="rId14"/>
    <p:sldId id="8137" r:id="rId15"/>
    <p:sldId id="8141" r:id="rId16"/>
    <p:sldId id="8143" r:id="rId17"/>
    <p:sldId id="8151" r:id="rId18"/>
    <p:sldId id="8152" r:id="rId19"/>
    <p:sldId id="257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604D"/>
    <a:srgbClr val="C68B69"/>
    <a:srgbClr val="0088BA"/>
    <a:srgbClr val="71594A"/>
    <a:srgbClr val="7D6250"/>
    <a:srgbClr val="D3772B"/>
    <a:srgbClr val="6F584A"/>
    <a:srgbClr val="C4E3EF"/>
    <a:srgbClr val="27B3D3"/>
    <a:srgbClr val="FAED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2915EB-2B2B-47A5-B6EB-7D3232529410}" v="9" dt="2025-01-20T19:38:03.428"/>
    <p1510:client id="{AC524F4A-C208-4D5E-910C-7C486E8EA4B5}" v="33" dt="2025-01-20T18:27:33.4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3" autoAdjust="0"/>
    <p:restoredTop sz="78885" autoAdjust="0"/>
  </p:normalViewPr>
  <p:slideViewPr>
    <p:cSldViewPr snapToGrid="0" snapToObjects="1">
      <p:cViewPr varScale="1">
        <p:scale>
          <a:sx n="85" d="100"/>
          <a:sy n="85" d="100"/>
        </p:scale>
        <p:origin x="151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299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CERES SANDOVAL, EVA MARIA" userId="efa43ab3-f30d-49e0-8bcf-cbcf637d4549" providerId="ADAL" clId="{252915EB-2B2B-47A5-B6EB-7D3232529410}"/>
    <pc:docChg chg="undo custSel addSld delSld modSld">
      <pc:chgData name="CACERES SANDOVAL, EVA MARIA" userId="efa43ab3-f30d-49e0-8bcf-cbcf637d4549" providerId="ADAL" clId="{252915EB-2B2B-47A5-B6EB-7D3232529410}" dt="2025-01-20T19:39:59.173" v="2615" actId="478"/>
      <pc:docMkLst>
        <pc:docMk/>
      </pc:docMkLst>
      <pc:sldChg chg="modSp mod">
        <pc:chgData name="CACERES SANDOVAL, EVA MARIA" userId="efa43ab3-f30d-49e0-8bcf-cbcf637d4549" providerId="ADAL" clId="{252915EB-2B2B-47A5-B6EB-7D3232529410}" dt="2025-01-20T19:02:09.428" v="587" actId="20577"/>
        <pc:sldMkLst>
          <pc:docMk/>
          <pc:sldMk cId="1911634418" sldId="294"/>
        </pc:sldMkLst>
        <pc:spChg chg="mod">
          <ac:chgData name="CACERES SANDOVAL, EVA MARIA" userId="efa43ab3-f30d-49e0-8bcf-cbcf637d4549" providerId="ADAL" clId="{252915EB-2B2B-47A5-B6EB-7D3232529410}" dt="2025-01-20T19:02:09.428" v="587" actId="20577"/>
          <ac:spMkLst>
            <pc:docMk/>
            <pc:sldMk cId="1911634418" sldId="294"/>
            <ac:spMk id="2" creationId="{9E35DCEA-11FB-375E-BA08-3B2B59711278}"/>
          </ac:spMkLst>
        </pc:spChg>
      </pc:sldChg>
      <pc:sldChg chg="addSp modSp mod modNotesTx">
        <pc:chgData name="CACERES SANDOVAL, EVA MARIA" userId="efa43ab3-f30d-49e0-8bcf-cbcf637d4549" providerId="ADAL" clId="{252915EB-2B2B-47A5-B6EB-7D3232529410}" dt="2025-01-20T19:38:19.250" v="2614" actId="14100"/>
        <pc:sldMkLst>
          <pc:docMk/>
          <pc:sldMk cId="2021102318" sldId="459"/>
        </pc:sldMkLst>
        <pc:spChg chg="add mod">
          <ac:chgData name="CACERES SANDOVAL, EVA MARIA" userId="efa43ab3-f30d-49e0-8bcf-cbcf637d4549" providerId="ADAL" clId="{252915EB-2B2B-47A5-B6EB-7D3232529410}" dt="2025-01-20T19:38:19.250" v="2614" actId="14100"/>
          <ac:spMkLst>
            <pc:docMk/>
            <pc:sldMk cId="2021102318" sldId="459"/>
            <ac:spMk id="4" creationId="{B34901C4-C4E5-0622-A100-C9E34BB99F1C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8" creationId="{8F8C455B-312E-5151-6537-F78635B74B03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9" creationId="{0DA60120-AD24-5798-ABDF-B24EAAC8B940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10" creationId="{0B5F7EB0-DEEB-225B-B00C-A7E874E99C06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11" creationId="{9AD9DF47-CD86-247C-A168-7C922E42246F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12" creationId="{B0C1A739-0260-F89E-5E9F-A6384F9589DD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13" creationId="{24C5087A-8A0E-FE60-A612-94D6D99C1623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14" creationId="{A086DAB2-7320-783E-9537-55C17A27F3EB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1" creationId="{78D74686-09CB-2BDC-0B9D-31EFAF40756F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2" creationId="{4E56F6D7-B600-7E2E-B192-02C0AB137DDD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3" creationId="{0925409F-2DC1-E87E-ED6B-7A50F506E8A8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4" creationId="{7B7D33E2-6D87-0D45-683D-37C1B9DA0812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5" creationId="{B57CAEF7-5248-F6F7-F3D1-EDCF3D12D5D3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6" creationId="{09C6DD43-E4F8-39E8-A49D-D0DB572CC3F0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7" creationId="{4234BF75-98FA-CC8D-DA64-ED4FE2568BE3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8" creationId="{21E87CA1-643A-C73E-5ACD-C888CE9B0816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29" creationId="{5515C781-E305-EE64-26FC-CB633476DAEF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30" creationId="{411B592E-BABA-C334-9200-E722E4E3AD65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31" creationId="{F69A2BEF-BE03-52C2-6DFA-050640B0D810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32" creationId="{135E690F-3E9F-A21F-3CEB-C8849D6ADA06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34" creationId="{2502D75E-4413-04EB-CAF8-C74D3CD3192E}"/>
          </ac:spMkLst>
        </pc:spChg>
        <pc:spChg chg="mod">
          <ac:chgData name="CACERES SANDOVAL, EVA MARIA" userId="efa43ab3-f30d-49e0-8bcf-cbcf637d4549" providerId="ADAL" clId="{252915EB-2B2B-47A5-B6EB-7D3232529410}" dt="2025-01-20T19:32:12.253" v="2223" actId="108"/>
          <ac:spMkLst>
            <pc:docMk/>
            <pc:sldMk cId="2021102318" sldId="459"/>
            <ac:spMk id="40" creationId="{71BBBA18-494D-6256-1F54-C03CA468DCEF}"/>
          </ac:spMkLst>
        </pc:spChg>
        <pc:spChg chg="mod">
          <ac:chgData name="CACERES SANDOVAL, EVA MARIA" userId="efa43ab3-f30d-49e0-8bcf-cbcf637d4549" providerId="ADAL" clId="{252915EB-2B2B-47A5-B6EB-7D3232529410}" dt="2025-01-20T19:32:32.725" v="2225" actId="207"/>
          <ac:spMkLst>
            <pc:docMk/>
            <pc:sldMk cId="2021102318" sldId="459"/>
            <ac:spMk id="44" creationId="{9F1A59CC-3ED1-2B2C-9854-BB44373C4FB1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51" creationId="{627BB7DE-2334-90BE-8136-BC9237B8E533}"/>
          </ac:spMkLst>
        </pc:spChg>
        <pc:spChg chg="mod">
          <ac:chgData name="CACERES SANDOVAL, EVA MARIA" userId="efa43ab3-f30d-49e0-8bcf-cbcf637d4549" providerId="ADAL" clId="{252915EB-2B2B-47A5-B6EB-7D3232529410}" dt="2025-01-20T19:30:14.850" v="2070" actId="404"/>
          <ac:spMkLst>
            <pc:docMk/>
            <pc:sldMk cId="2021102318" sldId="459"/>
            <ac:spMk id="52" creationId="{16306099-8AF2-BE8C-B8EA-0AEAA9CA72E2}"/>
          </ac:spMkLst>
        </pc:spChg>
        <pc:spChg chg="mod">
          <ac:chgData name="CACERES SANDOVAL, EVA MARIA" userId="efa43ab3-f30d-49e0-8bcf-cbcf637d4549" providerId="ADAL" clId="{252915EB-2B2B-47A5-B6EB-7D3232529410}" dt="2025-01-20T19:31:21.910" v="2093" actId="20577"/>
          <ac:spMkLst>
            <pc:docMk/>
            <pc:sldMk cId="2021102318" sldId="459"/>
            <ac:spMk id="53" creationId="{B75A62A0-0798-474C-8C86-37A69CF7DC25}"/>
          </ac:spMkLst>
        </pc:spChg>
        <pc:spChg chg="mod">
          <ac:chgData name="CACERES SANDOVAL, EVA MARIA" userId="efa43ab3-f30d-49e0-8bcf-cbcf637d4549" providerId="ADAL" clId="{252915EB-2B2B-47A5-B6EB-7D3232529410}" dt="2025-01-20T19:22:13.800" v="1349" actId="6549"/>
          <ac:spMkLst>
            <pc:docMk/>
            <pc:sldMk cId="2021102318" sldId="459"/>
            <ac:spMk id="54" creationId="{FD7040A8-52FC-7ACC-94B4-E281A6CC333E}"/>
          </ac:spMkLst>
        </pc:spChg>
        <pc:spChg chg="mod">
          <ac:chgData name="CACERES SANDOVAL, EVA MARIA" userId="efa43ab3-f30d-49e0-8bcf-cbcf637d4549" providerId="ADAL" clId="{252915EB-2B2B-47A5-B6EB-7D3232529410}" dt="2025-01-20T19:22:45" v="1402" actId="313"/>
          <ac:spMkLst>
            <pc:docMk/>
            <pc:sldMk cId="2021102318" sldId="459"/>
            <ac:spMk id="55" creationId="{1019E983-20A5-AD99-AC14-8A2A5108E089}"/>
          </ac:spMkLst>
        </pc:spChg>
        <pc:spChg chg="mod">
          <ac:chgData name="CACERES SANDOVAL, EVA MARIA" userId="efa43ab3-f30d-49e0-8bcf-cbcf637d4549" providerId="ADAL" clId="{252915EB-2B2B-47A5-B6EB-7D3232529410}" dt="2025-01-20T19:23:51.287" v="1407" actId="20577"/>
          <ac:spMkLst>
            <pc:docMk/>
            <pc:sldMk cId="2021102318" sldId="459"/>
            <ac:spMk id="56" creationId="{5043372B-3B67-2CB3-F123-7BEC6C6E798D}"/>
          </ac:spMkLst>
        </pc:spChg>
        <pc:spChg chg="mod">
          <ac:chgData name="CACERES SANDOVAL, EVA MARIA" userId="efa43ab3-f30d-49e0-8bcf-cbcf637d4549" providerId="ADAL" clId="{252915EB-2B2B-47A5-B6EB-7D3232529410}" dt="2025-01-20T19:26:29.735" v="1731" actId="20577"/>
          <ac:spMkLst>
            <pc:docMk/>
            <pc:sldMk cId="2021102318" sldId="459"/>
            <ac:spMk id="57" creationId="{E3F33414-B2CD-302F-6C48-584AE47BFF4E}"/>
          </ac:spMkLst>
        </pc:spChg>
        <pc:spChg chg="mod">
          <ac:chgData name="CACERES SANDOVAL, EVA MARIA" userId="efa43ab3-f30d-49e0-8bcf-cbcf637d4549" providerId="ADAL" clId="{252915EB-2B2B-47A5-B6EB-7D3232529410}" dt="2025-01-20T19:29:01.222" v="1984" actId="20577"/>
          <ac:spMkLst>
            <pc:docMk/>
            <pc:sldMk cId="2021102318" sldId="459"/>
            <ac:spMk id="58" creationId="{90720B68-3D72-E271-AF65-6D164DD071C8}"/>
          </ac:spMkLst>
        </pc:spChg>
        <pc:spChg chg="mod">
          <ac:chgData name="CACERES SANDOVAL, EVA MARIA" userId="efa43ab3-f30d-49e0-8bcf-cbcf637d4549" providerId="ADAL" clId="{252915EB-2B2B-47A5-B6EB-7D3232529410}" dt="2025-01-20T19:35:55.957" v="2395" actId="108"/>
          <ac:spMkLst>
            <pc:docMk/>
            <pc:sldMk cId="2021102318" sldId="459"/>
            <ac:spMk id="59" creationId="{F8EA8828-FCDB-669F-3299-030E554C4034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61" creationId="{CCF7F9B1-AE89-BB59-A4B6-B987D59D5B52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62" creationId="{90014715-996C-8C74-CFE7-1A6D398B13DE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63" creationId="{D2DCBE87-C22C-572D-2ED1-DD84D31048F7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64" creationId="{3EE3A111-E2B0-BF99-3272-41BD2BB6848B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65" creationId="{2D1D9CB0-591B-D175-247B-7AA806134954}"/>
          </ac:spMkLst>
        </pc:spChg>
        <pc:spChg chg="mod">
          <ac:chgData name="CACERES SANDOVAL, EVA MARIA" userId="efa43ab3-f30d-49e0-8bcf-cbcf637d4549" providerId="ADAL" clId="{252915EB-2B2B-47A5-B6EB-7D3232529410}" dt="2025-01-20T19:18:59.896" v="1248" actId="20578"/>
          <ac:spMkLst>
            <pc:docMk/>
            <pc:sldMk cId="2021102318" sldId="459"/>
            <ac:spMk id="66" creationId="{CBC90BE3-8160-15CB-314A-1BEC1650BEEF}"/>
          </ac:spMkLst>
        </pc:s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2" creationId="{86AD6B20-2D74-2DF7-EC9C-106593A8E0E1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7" creationId="{36500A18-2D5D-CB2E-BAAC-8D90FDE3410C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15" creationId="{6C30183F-EEB6-89AE-08CA-06D42A3AAB13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16" creationId="{5AD8A85E-0256-AC63-0A25-0E5273983D7D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17" creationId="{E8D84B3C-39B8-F6D7-2926-B311CAFB6390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18" creationId="{27ABDE6F-2DDF-8359-1EB8-1C167D3C40C3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19" creationId="{F3C22196-C137-5A80-8B47-D41AE04D0EB5}"/>
          </ac:grpSpMkLst>
        </pc:grpChg>
        <pc:grpChg chg="mod">
          <ac:chgData name="CACERES SANDOVAL, EVA MARIA" userId="efa43ab3-f30d-49e0-8bcf-cbcf637d4549" providerId="ADAL" clId="{252915EB-2B2B-47A5-B6EB-7D3232529410}" dt="2025-01-20T19:18:59.896" v="1248" actId="20578"/>
          <ac:grpSpMkLst>
            <pc:docMk/>
            <pc:sldMk cId="2021102318" sldId="459"/>
            <ac:grpSpMk id="20" creationId="{F2240DD6-29FB-41B9-E8C3-94F16980EDA2}"/>
          </ac:grpSpMkLst>
        </pc:grpChg>
      </pc:sldChg>
      <pc:sldChg chg="del">
        <pc:chgData name="CACERES SANDOVAL, EVA MARIA" userId="efa43ab3-f30d-49e0-8bcf-cbcf637d4549" providerId="ADAL" clId="{252915EB-2B2B-47A5-B6EB-7D3232529410}" dt="2025-01-20T18:58:42.134" v="0" actId="47"/>
        <pc:sldMkLst>
          <pc:docMk/>
          <pc:sldMk cId="431565556" sldId="931"/>
        </pc:sldMkLst>
      </pc:sldChg>
      <pc:sldChg chg="del">
        <pc:chgData name="CACERES SANDOVAL, EVA MARIA" userId="efa43ab3-f30d-49e0-8bcf-cbcf637d4549" providerId="ADAL" clId="{252915EB-2B2B-47A5-B6EB-7D3232529410}" dt="2025-01-20T18:58:42.134" v="0" actId="47"/>
        <pc:sldMkLst>
          <pc:docMk/>
          <pc:sldMk cId="4060697977" sldId="933"/>
        </pc:sldMkLst>
      </pc:sldChg>
      <pc:sldChg chg="del">
        <pc:chgData name="CACERES SANDOVAL, EVA MARIA" userId="efa43ab3-f30d-49e0-8bcf-cbcf637d4549" providerId="ADAL" clId="{252915EB-2B2B-47A5-B6EB-7D3232529410}" dt="2025-01-20T18:58:42.134" v="0" actId="47"/>
        <pc:sldMkLst>
          <pc:docMk/>
          <pc:sldMk cId="1416081266" sldId="934"/>
        </pc:sldMkLst>
      </pc:sldChg>
      <pc:sldChg chg="del">
        <pc:chgData name="CACERES SANDOVAL, EVA MARIA" userId="efa43ab3-f30d-49e0-8bcf-cbcf637d4549" providerId="ADAL" clId="{252915EB-2B2B-47A5-B6EB-7D3232529410}" dt="2025-01-20T18:58:42.134" v="0" actId="47"/>
        <pc:sldMkLst>
          <pc:docMk/>
          <pc:sldMk cId="1215131089" sldId="936"/>
        </pc:sldMkLst>
      </pc:sldChg>
      <pc:sldChg chg="delSp mod">
        <pc:chgData name="CACERES SANDOVAL, EVA MARIA" userId="efa43ab3-f30d-49e0-8bcf-cbcf637d4549" providerId="ADAL" clId="{252915EB-2B2B-47A5-B6EB-7D3232529410}" dt="2025-01-20T19:39:59.173" v="2615" actId="478"/>
        <pc:sldMkLst>
          <pc:docMk/>
          <pc:sldMk cId="1872708884" sldId="8141"/>
        </pc:sldMkLst>
        <pc:spChg chg="del topLvl">
          <ac:chgData name="CACERES SANDOVAL, EVA MARIA" userId="efa43ab3-f30d-49e0-8bcf-cbcf637d4549" providerId="ADAL" clId="{252915EB-2B2B-47A5-B6EB-7D3232529410}" dt="2025-01-20T19:39:59.173" v="2615" actId="478"/>
          <ac:spMkLst>
            <pc:docMk/>
            <pc:sldMk cId="1872708884" sldId="8141"/>
            <ac:spMk id="3" creationId="{DDC1E40E-29AE-B484-AD90-81E70EF536C7}"/>
          </ac:spMkLst>
        </pc:spChg>
        <pc:grpChg chg="topLvl">
          <ac:chgData name="CACERES SANDOVAL, EVA MARIA" userId="efa43ab3-f30d-49e0-8bcf-cbcf637d4549" providerId="ADAL" clId="{252915EB-2B2B-47A5-B6EB-7D3232529410}" dt="2025-01-20T19:39:59.173" v="2615" actId="478"/>
          <ac:grpSpMkLst>
            <pc:docMk/>
            <pc:sldMk cId="1872708884" sldId="8141"/>
            <ac:grpSpMk id="13" creationId="{F1466051-E3EF-4C2F-F9D9-89BEDDD2F594}"/>
          </ac:grpSpMkLst>
        </pc:grpChg>
        <pc:grpChg chg="del">
          <ac:chgData name="CACERES SANDOVAL, EVA MARIA" userId="efa43ab3-f30d-49e0-8bcf-cbcf637d4549" providerId="ADAL" clId="{252915EB-2B2B-47A5-B6EB-7D3232529410}" dt="2025-01-20T19:39:59.173" v="2615" actId="478"/>
          <ac:grpSpMkLst>
            <pc:docMk/>
            <pc:sldMk cId="1872708884" sldId="8141"/>
            <ac:grpSpMk id="17" creationId="{E3D3E25B-F25E-8B6E-BF06-99C54BAF2E8A}"/>
          </ac:grpSpMkLst>
        </pc:grpChg>
      </pc:sldChg>
      <pc:sldChg chg="del">
        <pc:chgData name="CACERES SANDOVAL, EVA MARIA" userId="efa43ab3-f30d-49e0-8bcf-cbcf637d4549" providerId="ADAL" clId="{252915EB-2B2B-47A5-B6EB-7D3232529410}" dt="2025-01-20T18:58:44.757" v="1" actId="47"/>
        <pc:sldMkLst>
          <pc:docMk/>
          <pc:sldMk cId="120905574" sldId="8142"/>
        </pc:sldMkLst>
      </pc:sldChg>
      <pc:sldChg chg="delSp modSp mod modNotesTx">
        <pc:chgData name="CACERES SANDOVAL, EVA MARIA" userId="efa43ab3-f30d-49e0-8bcf-cbcf637d4549" providerId="ADAL" clId="{252915EB-2B2B-47A5-B6EB-7D3232529410}" dt="2025-01-20T19:06:37.584" v="906"/>
        <pc:sldMkLst>
          <pc:docMk/>
          <pc:sldMk cId="3293214524" sldId="8143"/>
        </pc:sldMkLst>
        <pc:spChg chg="mod">
          <ac:chgData name="CACERES SANDOVAL, EVA MARIA" userId="efa43ab3-f30d-49e0-8bcf-cbcf637d4549" providerId="ADAL" clId="{252915EB-2B2B-47A5-B6EB-7D3232529410}" dt="2025-01-20T19:06:16.822" v="902" actId="20577"/>
          <ac:spMkLst>
            <pc:docMk/>
            <pc:sldMk cId="3293214524" sldId="8143"/>
            <ac:spMk id="9" creationId="{DA5F819D-89B6-B121-879F-E688F5CD9E25}"/>
          </ac:spMkLst>
        </pc:spChg>
        <pc:spChg chg="mod">
          <ac:chgData name="CACERES SANDOVAL, EVA MARIA" userId="efa43ab3-f30d-49e0-8bcf-cbcf637d4549" providerId="ADAL" clId="{252915EB-2B2B-47A5-B6EB-7D3232529410}" dt="2025-01-20T19:05:43.961" v="748" actId="20577"/>
          <ac:spMkLst>
            <pc:docMk/>
            <pc:sldMk cId="3293214524" sldId="8143"/>
            <ac:spMk id="10" creationId="{D715F8AF-90E4-5089-CCA1-38D35B4F5D81}"/>
          </ac:spMkLst>
        </pc:spChg>
        <pc:spChg chg="del">
          <ac:chgData name="CACERES SANDOVAL, EVA MARIA" userId="efa43ab3-f30d-49e0-8bcf-cbcf637d4549" providerId="ADAL" clId="{252915EB-2B2B-47A5-B6EB-7D3232529410}" dt="2025-01-20T18:59:01.086" v="5" actId="478"/>
          <ac:spMkLst>
            <pc:docMk/>
            <pc:sldMk cId="3293214524" sldId="8143"/>
            <ac:spMk id="11" creationId="{CD52D7D1-8977-C97A-667E-9295A6BA6233}"/>
          </ac:spMkLst>
        </pc:spChg>
      </pc:sldChg>
      <pc:sldChg chg="del">
        <pc:chgData name="CACERES SANDOVAL, EVA MARIA" userId="efa43ab3-f30d-49e0-8bcf-cbcf637d4549" providerId="ADAL" clId="{252915EB-2B2B-47A5-B6EB-7D3232529410}" dt="2025-01-20T18:58:50.254" v="2" actId="47"/>
        <pc:sldMkLst>
          <pc:docMk/>
          <pc:sldMk cId="2105858830" sldId="8144"/>
        </pc:sldMkLst>
      </pc:sldChg>
      <pc:sldChg chg="delSp del mod">
        <pc:chgData name="CACERES SANDOVAL, EVA MARIA" userId="efa43ab3-f30d-49e0-8bcf-cbcf637d4549" providerId="ADAL" clId="{252915EB-2B2B-47A5-B6EB-7D3232529410}" dt="2025-01-20T18:59:57.424" v="27" actId="47"/>
        <pc:sldMkLst>
          <pc:docMk/>
          <pc:sldMk cId="3715989853" sldId="8145"/>
        </pc:sldMkLst>
        <pc:spChg chg="del">
          <ac:chgData name="CACERES SANDOVAL, EVA MARIA" userId="efa43ab3-f30d-49e0-8bcf-cbcf637d4549" providerId="ADAL" clId="{252915EB-2B2B-47A5-B6EB-7D3232529410}" dt="2025-01-20T18:59:15.164" v="8" actId="478"/>
          <ac:spMkLst>
            <pc:docMk/>
            <pc:sldMk cId="3715989853" sldId="8145"/>
            <ac:spMk id="3" creationId="{DD970A5D-43D3-070F-D767-56180E46D98B}"/>
          </ac:spMkLst>
        </pc:spChg>
        <pc:picChg chg="del">
          <ac:chgData name="CACERES SANDOVAL, EVA MARIA" userId="efa43ab3-f30d-49e0-8bcf-cbcf637d4549" providerId="ADAL" clId="{252915EB-2B2B-47A5-B6EB-7D3232529410}" dt="2025-01-20T18:59:36.820" v="15" actId="21"/>
          <ac:picMkLst>
            <pc:docMk/>
            <pc:sldMk cId="3715989853" sldId="8145"/>
            <ac:picMk id="5" creationId="{CAB8CDAC-7638-C09E-7C5F-1262763BF310}"/>
          </ac:picMkLst>
        </pc:picChg>
      </pc:sldChg>
      <pc:sldChg chg="addSp delSp modSp add del mod">
        <pc:chgData name="CACERES SANDOVAL, EVA MARIA" userId="efa43ab3-f30d-49e0-8bcf-cbcf637d4549" providerId="ADAL" clId="{252915EB-2B2B-47A5-B6EB-7D3232529410}" dt="2025-01-20T19:06:40.492" v="907" actId="47"/>
        <pc:sldMkLst>
          <pc:docMk/>
          <pc:sldMk cId="1445624873" sldId="8146"/>
        </pc:sldMkLst>
        <pc:spChg chg="del">
          <ac:chgData name="CACERES SANDOVAL, EVA MARIA" userId="efa43ab3-f30d-49e0-8bcf-cbcf637d4549" providerId="ADAL" clId="{252915EB-2B2B-47A5-B6EB-7D3232529410}" dt="2025-01-20T18:59:12.467" v="7" actId="478"/>
          <ac:spMkLst>
            <pc:docMk/>
            <pc:sldMk cId="1445624873" sldId="8146"/>
            <ac:spMk id="3" creationId="{EF22E0AC-7AE1-BB95-A91E-FFB510E26B34}"/>
          </ac:spMkLst>
        </pc:spChg>
        <pc:spChg chg="add del mod">
          <ac:chgData name="CACERES SANDOVAL, EVA MARIA" userId="efa43ab3-f30d-49e0-8bcf-cbcf637d4549" providerId="ADAL" clId="{252915EB-2B2B-47A5-B6EB-7D3232529410}" dt="2025-01-20T19:06:36.108" v="905"/>
          <ac:spMkLst>
            <pc:docMk/>
            <pc:sldMk cId="1445624873" sldId="8146"/>
            <ac:spMk id="5" creationId="{48ABE3C6-2D99-0B84-9C70-6ED023C88EE3}"/>
          </ac:spMkLst>
        </pc:spChg>
        <pc:spChg chg="del mod">
          <ac:chgData name="CACERES SANDOVAL, EVA MARIA" userId="efa43ab3-f30d-49e0-8bcf-cbcf637d4549" providerId="ADAL" clId="{252915EB-2B2B-47A5-B6EB-7D3232529410}" dt="2025-01-20T19:01:29.190" v="481" actId="478"/>
          <ac:spMkLst>
            <pc:docMk/>
            <pc:sldMk cId="1445624873" sldId="8146"/>
            <ac:spMk id="9" creationId="{DA5F819D-89B6-B121-879F-E688F5CD9E25}"/>
          </ac:spMkLst>
        </pc:spChg>
        <pc:spChg chg="mod">
          <ac:chgData name="CACERES SANDOVAL, EVA MARIA" userId="efa43ab3-f30d-49e0-8bcf-cbcf637d4549" providerId="ADAL" clId="{252915EB-2B2B-47A5-B6EB-7D3232529410}" dt="2025-01-20T18:59:30.391" v="13" actId="20577"/>
          <ac:spMkLst>
            <pc:docMk/>
            <pc:sldMk cId="1445624873" sldId="8146"/>
            <ac:spMk id="10" creationId="{D715F8AF-90E4-5089-CCA1-38D35B4F5D81}"/>
          </ac:spMkLst>
        </pc:spChg>
        <pc:spChg chg="mod">
          <ac:chgData name="CACERES SANDOVAL, EVA MARIA" userId="efa43ab3-f30d-49e0-8bcf-cbcf637d4549" providerId="ADAL" clId="{252915EB-2B2B-47A5-B6EB-7D3232529410}" dt="2025-01-20T18:59:26.529" v="12" actId="1076"/>
          <ac:spMkLst>
            <pc:docMk/>
            <pc:sldMk cId="1445624873" sldId="8146"/>
            <ac:spMk id="13" creationId="{6AB83DF5-93D1-CC2C-DB11-713DD3472774}"/>
          </ac:spMkLst>
        </pc:spChg>
        <pc:picChg chg="add mod">
          <ac:chgData name="CACERES SANDOVAL, EVA MARIA" userId="efa43ab3-f30d-49e0-8bcf-cbcf637d4549" providerId="ADAL" clId="{252915EB-2B2B-47A5-B6EB-7D3232529410}" dt="2025-01-20T18:59:50.524" v="23" actId="1076"/>
          <ac:picMkLst>
            <pc:docMk/>
            <pc:sldMk cId="1445624873" sldId="8146"/>
            <ac:picMk id="2" creationId="{17895900-AFBD-CB94-C8CD-DBD4B267D77C}"/>
          </ac:picMkLst>
        </pc:picChg>
        <pc:picChg chg="add mod">
          <ac:chgData name="CACERES SANDOVAL, EVA MARIA" userId="efa43ab3-f30d-49e0-8bcf-cbcf637d4549" providerId="ADAL" clId="{252915EB-2B2B-47A5-B6EB-7D3232529410}" dt="2025-01-20T18:59:54.057" v="26" actId="1076"/>
          <ac:picMkLst>
            <pc:docMk/>
            <pc:sldMk cId="1445624873" sldId="8146"/>
            <ac:picMk id="4" creationId="{E639C6BB-79A0-69B1-1786-52CEADFD351B}"/>
          </ac:picMkLst>
        </pc:picChg>
        <pc:picChg chg="mod">
          <ac:chgData name="CACERES SANDOVAL, EVA MARIA" userId="efa43ab3-f30d-49e0-8bcf-cbcf637d4549" providerId="ADAL" clId="{252915EB-2B2B-47A5-B6EB-7D3232529410}" dt="2025-01-20T18:59:23.275" v="11" actId="1076"/>
          <ac:picMkLst>
            <pc:docMk/>
            <pc:sldMk cId="1445624873" sldId="8146"/>
            <ac:picMk id="12" creationId="{61801C27-F702-C6B0-3493-9C030D1EFC6D}"/>
          </ac:picMkLst>
        </pc:picChg>
      </pc:sldChg>
      <pc:sldChg chg="delSp del mod">
        <pc:chgData name="CACERES SANDOVAL, EVA MARIA" userId="efa43ab3-f30d-49e0-8bcf-cbcf637d4549" providerId="ADAL" clId="{252915EB-2B2B-47A5-B6EB-7D3232529410}" dt="2025-01-20T18:59:58.652" v="28" actId="47"/>
        <pc:sldMkLst>
          <pc:docMk/>
          <pc:sldMk cId="2472265382" sldId="8147"/>
        </pc:sldMkLst>
        <pc:spChg chg="del">
          <ac:chgData name="CACERES SANDOVAL, EVA MARIA" userId="efa43ab3-f30d-49e0-8bcf-cbcf637d4549" providerId="ADAL" clId="{252915EB-2B2B-47A5-B6EB-7D3232529410}" dt="2025-01-20T18:59:17.262" v="9" actId="478"/>
          <ac:spMkLst>
            <pc:docMk/>
            <pc:sldMk cId="2472265382" sldId="8147"/>
            <ac:spMk id="3" creationId="{281D7F3C-C367-8E0D-70C9-6A321A22FA01}"/>
          </ac:spMkLst>
        </pc:spChg>
        <pc:picChg chg="del">
          <ac:chgData name="CACERES SANDOVAL, EVA MARIA" userId="efa43ab3-f30d-49e0-8bcf-cbcf637d4549" providerId="ADAL" clId="{252915EB-2B2B-47A5-B6EB-7D3232529410}" dt="2025-01-20T18:59:44.842" v="19" actId="21"/>
          <ac:picMkLst>
            <pc:docMk/>
            <pc:sldMk cId="2472265382" sldId="8147"/>
            <ac:picMk id="6" creationId="{DDCC2F01-DFF3-C85E-1CF5-F768CE2A1D81}"/>
          </ac:picMkLst>
        </pc:picChg>
      </pc:sldChg>
      <pc:sldChg chg="add">
        <pc:chgData name="CACERES SANDOVAL, EVA MARIA" userId="efa43ab3-f30d-49e0-8bcf-cbcf637d4549" providerId="ADAL" clId="{252915EB-2B2B-47A5-B6EB-7D3232529410}" dt="2025-01-20T19:07:46.156" v="909"/>
        <pc:sldMkLst>
          <pc:docMk/>
          <pc:sldMk cId="1321286741" sldId="8151"/>
        </pc:sldMkLst>
      </pc:sldChg>
      <pc:sldChg chg="modSp add mod">
        <pc:chgData name="CACERES SANDOVAL, EVA MARIA" userId="efa43ab3-f30d-49e0-8bcf-cbcf637d4549" providerId="ADAL" clId="{252915EB-2B2B-47A5-B6EB-7D3232529410}" dt="2025-01-20T19:08:27.809" v="1013" actId="404"/>
        <pc:sldMkLst>
          <pc:docMk/>
          <pc:sldMk cId="550098848" sldId="8152"/>
        </pc:sldMkLst>
        <pc:spChg chg="mod">
          <ac:chgData name="CACERES SANDOVAL, EVA MARIA" userId="efa43ab3-f30d-49e0-8bcf-cbcf637d4549" providerId="ADAL" clId="{252915EB-2B2B-47A5-B6EB-7D3232529410}" dt="2025-01-20T19:08:27.809" v="1013" actId="404"/>
          <ac:spMkLst>
            <pc:docMk/>
            <pc:sldMk cId="550098848" sldId="8152"/>
            <ac:spMk id="9" creationId="{DA5F819D-89B6-B121-879F-E688F5CD9E25}"/>
          </ac:spMkLst>
        </pc:spChg>
      </pc:sldChg>
      <pc:sldChg chg="modSp mod">
        <pc:chgData name="CACERES SANDOVAL, EVA MARIA" userId="efa43ab3-f30d-49e0-8bcf-cbcf637d4549" providerId="ADAL" clId="{252915EB-2B2B-47A5-B6EB-7D3232529410}" dt="2025-01-20T19:02:28.133" v="588" actId="115"/>
        <pc:sldMkLst>
          <pc:docMk/>
          <pc:sldMk cId="2775744722" sldId="8154"/>
        </pc:sldMkLst>
        <pc:spChg chg="mod">
          <ac:chgData name="CACERES SANDOVAL, EVA MARIA" userId="efa43ab3-f30d-49e0-8bcf-cbcf637d4549" providerId="ADAL" clId="{252915EB-2B2B-47A5-B6EB-7D3232529410}" dt="2025-01-20T19:02:28.133" v="588" actId="115"/>
          <ac:spMkLst>
            <pc:docMk/>
            <pc:sldMk cId="2775744722" sldId="8154"/>
            <ac:spMk id="4" creationId="{CFAC5E42-767D-EFD0-DDAB-A8853102B791}"/>
          </ac:spMkLst>
        </pc:spChg>
      </pc:sldChg>
    </pc:docChg>
  </pc:docChgLst>
  <pc:docChgLst>
    <pc:chgData name="CACERES SANDOVAL, EVA MARIA" userId="efa43ab3-f30d-49e0-8bcf-cbcf637d4549" providerId="ADAL" clId="{BEFC6A54-4A2A-48EB-9A23-5555769EF08B}"/>
    <pc:docChg chg="undo custSel delSld modSld">
      <pc:chgData name="CACERES SANDOVAL, EVA MARIA" userId="efa43ab3-f30d-49e0-8bcf-cbcf637d4549" providerId="ADAL" clId="{BEFC6A54-4A2A-48EB-9A23-5555769EF08B}" dt="2025-01-20T18:49:00.989" v="79" actId="20577"/>
      <pc:docMkLst>
        <pc:docMk/>
      </pc:docMkLst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3250579648" sldId="460"/>
        </pc:sldMkLst>
      </pc:sldChg>
      <pc:sldChg chg="modNotesTx">
        <pc:chgData name="CACERES SANDOVAL, EVA MARIA" userId="efa43ab3-f30d-49e0-8bcf-cbcf637d4549" providerId="ADAL" clId="{BEFC6A54-4A2A-48EB-9A23-5555769EF08B}" dt="2025-01-20T18:48:09.021" v="47" actId="20577"/>
        <pc:sldMkLst>
          <pc:docMk/>
          <pc:sldMk cId="4078864902" sldId="462"/>
        </pc:sldMkLst>
      </pc:sldChg>
      <pc:sldChg chg="modSp mod">
        <pc:chgData name="CACERES SANDOVAL, EVA MARIA" userId="efa43ab3-f30d-49e0-8bcf-cbcf637d4549" providerId="ADAL" clId="{BEFC6A54-4A2A-48EB-9A23-5555769EF08B}" dt="2025-01-20T18:49:00.989" v="79" actId="20577"/>
        <pc:sldMkLst>
          <pc:docMk/>
          <pc:sldMk cId="120905574" sldId="8142"/>
        </pc:sldMkLst>
        <pc:spChg chg="mod">
          <ac:chgData name="CACERES SANDOVAL, EVA MARIA" userId="efa43ab3-f30d-49e0-8bcf-cbcf637d4549" providerId="ADAL" clId="{BEFC6A54-4A2A-48EB-9A23-5555769EF08B}" dt="2025-01-20T18:49:00.989" v="79" actId="20577"/>
          <ac:spMkLst>
            <pc:docMk/>
            <pc:sldMk cId="120905574" sldId="8142"/>
            <ac:spMk id="2" creationId="{9E35DCEA-11FB-375E-BA08-3B2B59711278}"/>
          </ac:spMkLst>
        </pc:spChg>
      </pc:sldChg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3134077478" sldId="8148"/>
        </pc:sldMkLst>
      </pc:sldChg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2171042192" sldId="8149"/>
        </pc:sldMkLst>
      </pc:sldChg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4054008323" sldId="8150"/>
        </pc:sldMkLst>
      </pc:sldChg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1321286741" sldId="8151"/>
        </pc:sldMkLst>
      </pc:sldChg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550098848" sldId="8152"/>
        </pc:sldMkLst>
      </pc:sldChg>
      <pc:sldChg chg="del">
        <pc:chgData name="CACERES SANDOVAL, EVA MARIA" userId="efa43ab3-f30d-49e0-8bcf-cbcf637d4549" providerId="ADAL" clId="{BEFC6A54-4A2A-48EB-9A23-5555769EF08B}" dt="2025-01-20T18:45:18.282" v="0" actId="47"/>
        <pc:sldMkLst>
          <pc:docMk/>
          <pc:sldMk cId="4268641344" sldId="8153"/>
        </pc:sldMkLst>
      </pc:sldChg>
    </pc:docChg>
  </pc:docChgLst>
  <pc:docChgLst>
    <pc:chgData name="CACERES SANDOVAL, EVA MARIA" userId="efa43ab3-f30d-49e0-8bcf-cbcf637d4549" providerId="ADAL" clId="{AC524F4A-C208-4D5E-910C-7C486E8EA4B5}"/>
    <pc:docChg chg="undo custSel addSld delSld modSld">
      <pc:chgData name="CACERES SANDOVAL, EVA MARIA" userId="efa43ab3-f30d-49e0-8bcf-cbcf637d4549" providerId="ADAL" clId="{AC524F4A-C208-4D5E-910C-7C486E8EA4B5}" dt="2025-01-20T18:43:30.438" v="3718" actId="20577"/>
      <pc:docMkLst>
        <pc:docMk/>
      </pc:docMkLst>
      <pc:sldChg chg="delSp mod">
        <pc:chgData name="CACERES SANDOVAL, EVA MARIA" userId="efa43ab3-f30d-49e0-8bcf-cbcf637d4549" providerId="ADAL" clId="{AC524F4A-C208-4D5E-910C-7C486E8EA4B5}" dt="2025-01-20T17:33:32.719" v="2899" actId="478"/>
        <pc:sldMkLst>
          <pc:docMk/>
          <pc:sldMk cId="3697566562" sldId="278"/>
        </pc:sldMkLst>
        <pc:spChg chg="del">
          <ac:chgData name="CACERES SANDOVAL, EVA MARIA" userId="efa43ab3-f30d-49e0-8bcf-cbcf637d4549" providerId="ADAL" clId="{AC524F4A-C208-4D5E-910C-7C486E8EA4B5}" dt="2025-01-20T17:33:32.719" v="2899" actId="478"/>
          <ac:spMkLst>
            <pc:docMk/>
            <pc:sldMk cId="3697566562" sldId="278"/>
            <ac:spMk id="4" creationId="{D2607E6F-AD79-46D1-B5A9-6387F3F7DA96}"/>
          </ac:spMkLst>
        </pc:spChg>
      </pc:sldChg>
      <pc:sldChg chg="modSp mod">
        <pc:chgData name="CACERES SANDOVAL, EVA MARIA" userId="efa43ab3-f30d-49e0-8bcf-cbcf637d4549" providerId="ADAL" clId="{AC524F4A-C208-4D5E-910C-7C486E8EA4B5}" dt="2025-01-20T18:25:01.443" v="2964" actId="1076"/>
        <pc:sldMkLst>
          <pc:docMk/>
          <pc:sldMk cId="1911634418" sldId="294"/>
        </pc:sldMkLst>
        <pc:spChg chg="mod">
          <ac:chgData name="CACERES SANDOVAL, EVA MARIA" userId="efa43ab3-f30d-49e0-8bcf-cbcf637d4549" providerId="ADAL" clId="{AC524F4A-C208-4D5E-910C-7C486E8EA4B5}" dt="2025-01-20T18:24:58.728" v="2963"/>
          <ac:spMkLst>
            <pc:docMk/>
            <pc:sldMk cId="1911634418" sldId="294"/>
            <ac:spMk id="2" creationId="{9E35DCEA-11FB-375E-BA08-3B2B59711278}"/>
          </ac:spMkLst>
        </pc:spChg>
        <pc:spChg chg="mod">
          <ac:chgData name="CACERES SANDOVAL, EVA MARIA" userId="efa43ab3-f30d-49e0-8bcf-cbcf637d4549" providerId="ADAL" clId="{AC524F4A-C208-4D5E-910C-7C486E8EA4B5}" dt="2025-01-20T18:25:01.443" v="2964" actId="1076"/>
          <ac:spMkLst>
            <pc:docMk/>
            <pc:sldMk cId="1911634418" sldId="294"/>
            <ac:spMk id="4" creationId="{19A7A5CC-C7F1-1A88-CF54-31D5B8150FAD}"/>
          </ac:spMkLst>
        </pc:spChg>
      </pc:sldChg>
      <pc:sldChg chg="add">
        <pc:chgData name="CACERES SANDOVAL, EVA MARIA" userId="efa43ab3-f30d-49e0-8bcf-cbcf637d4549" providerId="ADAL" clId="{AC524F4A-C208-4D5E-910C-7C486E8EA4B5}" dt="2025-01-20T13:15:00.076" v="1"/>
        <pc:sldMkLst>
          <pc:docMk/>
          <pc:sldMk cId="2071524738" sldId="454"/>
        </pc:sldMkLst>
      </pc:sldChg>
      <pc:sldChg chg="del">
        <pc:chgData name="CACERES SANDOVAL, EVA MARIA" userId="efa43ab3-f30d-49e0-8bcf-cbcf637d4549" providerId="ADAL" clId="{AC524F4A-C208-4D5E-910C-7C486E8EA4B5}" dt="2025-01-20T13:14:43.871" v="0" actId="2696"/>
        <pc:sldMkLst>
          <pc:docMk/>
          <pc:sldMk cId="2526406959" sldId="454"/>
        </pc:sldMkLst>
      </pc:sldChg>
      <pc:sldChg chg="addSp modSp add mod modNotesTx">
        <pc:chgData name="CACERES SANDOVAL, EVA MARIA" userId="efa43ab3-f30d-49e0-8bcf-cbcf637d4549" providerId="ADAL" clId="{AC524F4A-C208-4D5E-910C-7C486E8EA4B5}" dt="2025-01-20T18:37:09.456" v="3356" actId="207"/>
        <pc:sldMkLst>
          <pc:docMk/>
          <pc:sldMk cId="2021102318" sldId="459"/>
        </pc:sldMkLst>
        <pc:spChg chg="add mod">
          <ac:chgData name="CACERES SANDOVAL, EVA MARIA" userId="efa43ab3-f30d-49e0-8bcf-cbcf637d4549" providerId="ADAL" clId="{AC524F4A-C208-4D5E-910C-7C486E8EA4B5}" dt="2025-01-20T18:27:27.217" v="2986" actId="1076"/>
          <ac:spMkLst>
            <pc:docMk/>
            <pc:sldMk cId="2021102318" sldId="459"/>
            <ac:spMk id="3" creationId="{0CF3FF77-CCAB-70CD-270D-0D9EF137C0B0}"/>
          </ac:spMkLst>
        </pc:spChg>
        <pc:spChg chg="mod">
          <ac:chgData name="CACERES SANDOVAL, EVA MARIA" userId="efa43ab3-f30d-49e0-8bcf-cbcf637d4549" providerId="ADAL" clId="{AC524F4A-C208-4D5E-910C-7C486E8EA4B5}" dt="2025-01-20T18:37:09.456" v="3356" actId="207"/>
          <ac:spMkLst>
            <pc:docMk/>
            <pc:sldMk cId="2021102318" sldId="459"/>
            <ac:spMk id="5" creationId="{EE92387E-268B-9A1F-489C-1C5F9CFE8940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34" creationId="{2502D75E-4413-04EB-CAF8-C74D3CD3192E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40" creationId="{71BBBA18-494D-6256-1F54-C03CA468DCEF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44" creationId="{9F1A59CC-3ED1-2B2C-9854-BB44373C4FB1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1" creationId="{627BB7DE-2334-90BE-8136-BC9237B8E533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2" creationId="{16306099-8AF2-BE8C-B8EA-0AEAA9CA72E2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3" creationId="{B75A62A0-0798-474C-8C86-37A69CF7DC25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4" creationId="{FD7040A8-52FC-7ACC-94B4-E281A6CC333E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5" creationId="{1019E983-20A5-AD99-AC14-8A2A5108E089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6" creationId="{5043372B-3B67-2CB3-F123-7BEC6C6E798D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7" creationId="{E3F33414-B2CD-302F-6C48-584AE47BFF4E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8" creationId="{90720B68-3D72-E271-AF65-6D164DD071C8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59" creationId="{F8EA8828-FCDB-669F-3299-030E554C4034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61" creationId="{CCF7F9B1-AE89-BB59-A4B6-B987D59D5B52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62" creationId="{90014715-996C-8C74-CFE7-1A6D398B13DE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63" creationId="{D2DCBE87-C22C-572D-2ED1-DD84D31048F7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64" creationId="{3EE3A111-E2B0-BF99-3272-41BD2BB6848B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65" creationId="{2D1D9CB0-591B-D175-247B-7AA806134954}"/>
          </ac:spMkLst>
        </pc:spChg>
        <pc:spChg chg="mod">
          <ac:chgData name="CACERES SANDOVAL, EVA MARIA" userId="efa43ab3-f30d-49e0-8bcf-cbcf637d4549" providerId="ADAL" clId="{AC524F4A-C208-4D5E-910C-7C486E8EA4B5}" dt="2025-01-20T16:12:56.037" v="367" actId="164"/>
          <ac:spMkLst>
            <pc:docMk/>
            <pc:sldMk cId="2021102318" sldId="459"/>
            <ac:spMk id="66" creationId="{CBC90BE3-8160-15CB-314A-1BEC1650BEEF}"/>
          </ac:spMkLst>
        </pc:spChg>
        <pc:grpChg chg="add mod">
          <ac:chgData name="CACERES SANDOVAL, EVA MARIA" userId="efa43ab3-f30d-49e0-8bcf-cbcf637d4549" providerId="ADAL" clId="{AC524F4A-C208-4D5E-910C-7C486E8EA4B5}" dt="2025-01-20T16:12:56.037" v="367" actId="164"/>
          <ac:grpSpMkLst>
            <pc:docMk/>
            <pc:sldMk cId="2021102318" sldId="459"/>
            <ac:grpSpMk id="2" creationId="{86AD6B20-2D74-2DF7-EC9C-106593A8E0E1}"/>
          </ac:grpSpMkLst>
        </pc:grpChg>
        <pc:grpChg chg="mod">
          <ac:chgData name="CACERES SANDOVAL, EVA MARIA" userId="efa43ab3-f30d-49e0-8bcf-cbcf637d4549" providerId="ADAL" clId="{AC524F4A-C208-4D5E-910C-7C486E8EA4B5}" dt="2025-01-20T16:12:56.037" v="367" actId="164"/>
          <ac:grpSpMkLst>
            <pc:docMk/>
            <pc:sldMk cId="2021102318" sldId="459"/>
            <ac:grpSpMk id="7" creationId="{36500A18-2D5D-CB2E-BAAC-8D90FDE3410C}"/>
          </ac:grpSpMkLst>
        </pc:grpChg>
      </pc:sldChg>
      <pc:sldChg chg="del">
        <pc:chgData name="CACERES SANDOVAL, EVA MARIA" userId="efa43ab3-f30d-49e0-8bcf-cbcf637d4549" providerId="ADAL" clId="{AC524F4A-C208-4D5E-910C-7C486E8EA4B5}" dt="2025-01-20T13:14:43.871" v="0" actId="2696"/>
        <pc:sldMkLst>
          <pc:docMk/>
          <pc:sldMk cId="3159271810" sldId="459"/>
        </pc:sldMkLst>
      </pc:sldChg>
      <pc:sldChg chg="del">
        <pc:chgData name="CACERES SANDOVAL, EVA MARIA" userId="efa43ab3-f30d-49e0-8bcf-cbcf637d4549" providerId="ADAL" clId="{AC524F4A-C208-4D5E-910C-7C486E8EA4B5}" dt="2025-01-20T13:14:43.871" v="0" actId="2696"/>
        <pc:sldMkLst>
          <pc:docMk/>
          <pc:sldMk cId="1199292189" sldId="460"/>
        </pc:sldMkLst>
      </pc:sldChg>
      <pc:sldChg chg="modSp add mod">
        <pc:chgData name="CACERES SANDOVAL, EVA MARIA" userId="efa43ab3-f30d-49e0-8bcf-cbcf637d4549" providerId="ADAL" clId="{AC524F4A-C208-4D5E-910C-7C486E8EA4B5}" dt="2025-01-20T17:31:06.758" v="2878" actId="20577"/>
        <pc:sldMkLst>
          <pc:docMk/>
          <pc:sldMk cId="3250579648" sldId="460"/>
        </pc:sldMkLst>
        <pc:spChg chg="mod">
          <ac:chgData name="CACERES SANDOVAL, EVA MARIA" userId="efa43ab3-f30d-49e0-8bcf-cbcf637d4549" providerId="ADAL" clId="{AC524F4A-C208-4D5E-910C-7C486E8EA4B5}" dt="2025-01-20T17:31:06.758" v="2878" actId="20577"/>
          <ac:spMkLst>
            <pc:docMk/>
            <pc:sldMk cId="3250579648" sldId="460"/>
            <ac:spMk id="2" creationId="{39854CD9-2BB7-22C8-5DB2-92D75FC4F7B7}"/>
          </ac:spMkLst>
        </pc:spChg>
        <pc:spChg chg="mod">
          <ac:chgData name="CACERES SANDOVAL, EVA MARIA" userId="efa43ab3-f30d-49e0-8bcf-cbcf637d4549" providerId="ADAL" clId="{AC524F4A-C208-4D5E-910C-7C486E8EA4B5}" dt="2025-01-20T17:30:37.990" v="2817" actId="20577"/>
          <ac:spMkLst>
            <pc:docMk/>
            <pc:sldMk cId="3250579648" sldId="460"/>
            <ac:spMk id="43" creationId="{FBB2B007-6E5B-ABC5-8122-58049A0A54FF}"/>
          </ac:spMkLst>
        </pc:spChg>
        <pc:spChg chg="mod">
          <ac:chgData name="CACERES SANDOVAL, EVA MARIA" userId="efa43ab3-f30d-49e0-8bcf-cbcf637d4549" providerId="ADAL" clId="{AC524F4A-C208-4D5E-910C-7C486E8EA4B5}" dt="2025-01-20T17:29:52.332" v="2776" actId="20577"/>
          <ac:spMkLst>
            <pc:docMk/>
            <pc:sldMk cId="3250579648" sldId="460"/>
            <ac:spMk id="102" creationId="{2D80B280-C56F-8B3F-DFFE-06632909EA9C}"/>
          </ac:spMkLst>
        </pc:spChg>
      </pc:sldChg>
      <pc:sldChg chg="add del">
        <pc:chgData name="CACERES SANDOVAL, EVA MARIA" userId="efa43ab3-f30d-49e0-8bcf-cbcf637d4549" providerId="ADAL" clId="{AC524F4A-C208-4D5E-910C-7C486E8EA4B5}" dt="2025-01-20T13:17:50.802" v="140" actId="2696"/>
        <pc:sldMkLst>
          <pc:docMk/>
          <pc:sldMk cId="4163634295" sldId="460"/>
        </pc:sldMkLst>
      </pc:sldChg>
      <pc:sldChg chg="del">
        <pc:chgData name="CACERES SANDOVAL, EVA MARIA" userId="efa43ab3-f30d-49e0-8bcf-cbcf637d4549" providerId="ADAL" clId="{AC524F4A-C208-4D5E-910C-7C486E8EA4B5}" dt="2025-01-20T13:14:43.871" v="0" actId="2696"/>
        <pc:sldMkLst>
          <pc:docMk/>
          <pc:sldMk cId="706791845" sldId="461"/>
        </pc:sldMkLst>
      </pc:sldChg>
      <pc:sldChg chg="modSp add mod">
        <pc:chgData name="CACERES SANDOVAL, EVA MARIA" userId="efa43ab3-f30d-49e0-8bcf-cbcf637d4549" providerId="ADAL" clId="{AC524F4A-C208-4D5E-910C-7C486E8EA4B5}" dt="2025-01-20T16:41:13.608" v="1942" actId="20577"/>
        <pc:sldMkLst>
          <pc:docMk/>
          <pc:sldMk cId="1476325271" sldId="461"/>
        </pc:sldMkLst>
        <pc:spChg chg="mod">
          <ac:chgData name="CACERES SANDOVAL, EVA MARIA" userId="efa43ab3-f30d-49e0-8bcf-cbcf637d4549" providerId="ADAL" clId="{AC524F4A-C208-4D5E-910C-7C486E8EA4B5}" dt="2025-01-20T16:41:13.608" v="1942" actId="20577"/>
          <ac:spMkLst>
            <pc:docMk/>
            <pc:sldMk cId="1476325271" sldId="461"/>
            <ac:spMk id="2" creationId="{8D763E11-F3CC-18C3-E0AA-94D89D53A965}"/>
          </ac:spMkLst>
        </pc:spChg>
      </pc:sldChg>
      <pc:sldChg chg="del">
        <pc:chgData name="CACERES SANDOVAL, EVA MARIA" userId="efa43ab3-f30d-49e0-8bcf-cbcf637d4549" providerId="ADAL" clId="{AC524F4A-C208-4D5E-910C-7C486E8EA4B5}" dt="2025-01-20T13:14:43.871" v="0" actId="2696"/>
        <pc:sldMkLst>
          <pc:docMk/>
          <pc:sldMk cId="1560334156" sldId="462"/>
        </pc:sldMkLst>
      </pc:sldChg>
      <pc:sldChg chg="addSp modSp add mod modNotesTx">
        <pc:chgData name="CACERES SANDOVAL, EVA MARIA" userId="efa43ab3-f30d-49e0-8bcf-cbcf637d4549" providerId="ADAL" clId="{AC524F4A-C208-4D5E-910C-7C486E8EA4B5}" dt="2025-01-20T18:37:02.851" v="3355" actId="207"/>
        <pc:sldMkLst>
          <pc:docMk/>
          <pc:sldMk cId="4078864902" sldId="462"/>
        </pc:sldMkLst>
        <pc:spChg chg="mod">
          <ac:chgData name="CACERES SANDOVAL, EVA MARIA" userId="efa43ab3-f30d-49e0-8bcf-cbcf637d4549" providerId="ADAL" clId="{AC524F4A-C208-4D5E-910C-7C486E8EA4B5}" dt="2025-01-20T18:32:57.339" v="3261" actId="1076"/>
          <ac:spMkLst>
            <pc:docMk/>
            <pc:sldMk cId="4078864902" sldId="462"/>
            <ac:spMk id="2" creationId="{D49B20A6-D3D9-BE34-D069-9E4F59E4E673}"/>
          </ac:spMkLst>
        </pc:spChg>
        <pc:spChg chg="mod">
          <ac:chgData name="CACERES SANDOVAL, EVA MARIA" userId="efa43ab3-f30d-49e0-8bcf-cbcf637d4549" providerId="ADAL" clId="{AC524F4A-C208-4D5E-910C-7C486E8EA4B5}" dt="2025-01-20T18:33:01.650" v="3263" actId="1076"/>
          <ac:spMkLst>
            <pc:docMk/>
            <pc:sldMk cId="4078864902" sldId="462"/>
            <ac:spMk id="4" creationId="{909650AF-A1D0-3613-5C45-6DF2940733C1}"/>
          </ac:spMkLst>
        </pc:spChg>
        <pc:spChg chg="mod">
          <ac:chgData name="CACERES SANDOVAL, EVA MARIA" userId="efa43ab3-f30d-49e0-8bcf-cbcf637d4549" providerId="ADAL" clId="{AC524F4A-C208-4D5E-910C-7C486E8EA4B5}" dt="2025-01-20T18:37:02.851" v="3355" actId="207"/>
          <ac:spMkLst>
            <pc:docMk/>
            <pc:sldMk cId="4078864902" sldId="462"/>
            <ac:spMk id="5" creationId="{EE92387E-268B-9A1F-489C-1C5F9CFE8940}"/>
          </ac:spMkLst>
        </pc:spChg>
        <pc:grpChg chg="mod">
          <ac:chgData name="CACERES SANDOVAL, EVA MARIA" userId="efa43ab3-f30d-49e0-8bcf-cbcf637d4549" providerId="ADAL" clId="{AC524F4A-C208-4D5E-910C-7C486E8EA4B5}" dt="2025-01-20T18:32:59.526" v="3262" actId="1076"/>
          <ac:grpSpMkLst>
            <pc:docMk/>
            <pc:sldMk cId="4078864902" sldId="462"/>
            <ac:grpSpMk id="22" creationId="{89FBE6F9-4330-6238-C264-98EDF51292C3}"/>
          </ac:grpSpMkLst>
        </pc:grpChg>
        <pc:picChg chg="add mod">
          <ac:chgData name="CACERES SANDOVAL, EVA MARIA" userId="efa43ab3-f30d-49e0-8bcf-cbcf637d4549" providerId="ADAL" clId="{AC524F4A-C208-4D5E-910C-7C486E8EA4B5}" dt="2025-01-20T18:33:05.852" v="3264" actId="1076"/>
          <ac:picMkLst>
            <pc:docMk/>
            <pc:sldMk cId="4078864902" sldId="462"/>
            <ac:picMk id="6" creationId="{82787A76-2303-D841-5269-B4B65CACB31C}"/>
          </ac:picMkLst>
        </pc:picChg>
        <pc:picChg chg="mod">
          <ac:chgData name="CACERES SANDOVAL, EVA MARIA" userId="efa43ab3-f30d-49e0-8bcf-cbcf637d4549" providerId="ADAL" clId="{AC524F4A-C208-4D5E-910C-7C486E8EA4B5}" dt="2025-01-20T18:32:55.516" v="3260" actId="1076"/>
          <ac:picMkLst>
            <pc:docMk/>
            <pc:sldMk cId="4078864902" sldId="462"/>
            <ac:picMk id="7" creationId="{349122D0-9A58-0FE3-D0F6-5DC3CADF86CA}"/>
          </ac:picMkLst>
        </pc:picChg>
      </pc:sldChg>
      <pc:sldChg chg="addSp delSp modSp mod">
        <pc:chgData name="CACERES SANDOVAL, EVA MARIA" userId="efa43ab3-f30d-49e0-8bcf-cbcf637d4549" providerId="ADAL" clId="{AC524F4A-C208-4D5E-910C-7C486E8EA4B5}" dt="2025-01-20T16:31:43.746" v="1442" actId="13822"/>
        <pc:sldMkLst>
          <pc:docMk/>
          <pc:sldMk cId="431565556" sldId="931"/>
        </pc:sldMkLst>
        <pc:spChg chg="add del mod">
          <ac:chgData name="CACERES SANDOVAL, EVA MARIA" userId="efa43ab3-f30d-49e0-8bcf-cbcf637d4549" providerId="ADAL" clId="{AC524F4A-C208-4D5E-910C-7C486E8EA4B5}" dt="2025-01-20T16:22:35.566" v="748" actId="478"/>
          <ac:spMkLst>
            <pc:docMk/>
            <pc:sldMk cId="431565556" sldId="931"/>
            <ac:spMk id="3" creationId="{8EAAB6F7-50E8-F2BE-3075-B2CA7F3C22AA}"/>
          </ac:spMkLst>
        </pc:spChg>
        <pc:spChg chg="add mod">
          <ac:chgData name="CACERES SANDOVAL, EVA MARIA" userId="efa43ab3-f30d-49e0-8bcf-cbcf637d4549" providerId="ADAL" clId="{AC524F4A-C208-4D5E-910C-7C486E8EA4B5}" dt="2025-01-20T16:30:49.586" v="1433" actId="207"/>
          <ac:spMkLst>
            <pc:docMk/>
            <pc:sldMk cId="431565556" sldId="931"/>
            <ac:spMk id="5" creationId="{A66DD864-1A64-E3E5-C9BD-6AA9094C0F3C}"/>
          </ac:spMkLst>
        </pc:spChg>
        <pc:spChg chg="add mod">
          <ac:chgData name="CACERES SANDOVAL, EVA MARIA" userId="efa43ab3-f30d-49e0-8bcf-cbcf637d4549" providerId="ADAL" clId="{AC524F4A-C208-4D5E-910C-7C486E8EA4B5}" dt="2025-01-20T16:31:30.777" v="1440" actId="1076"/>
          <ac:spMkLst>
            <pc:docMk/>
            <pc:sldMk cId="431565556" sldId="931"/>
            <ac:spMk id="6" creationId="{D74F106B-9EF6-3B62-33D2-2FB5A3BEDC96}"/>
          </ac:spMkLst>
        </pc:spChg>
        <pc:spChg chg="add del mod">
          <ac:chgData name="CACERES SANDOVAL, EVA MARIA" userId="efa43ab3-f30d-49e0-8bcf-cbcf637d4549" providerId="ADAL" clId="{AC524F4A-C208-4D5E-910C-7C486E8EA4B5}" dt="2025-01-20T16:30:27.646" v="1419" actId="478"/>
          <ac:spMkLst>
            <pc:docMk/>
            <pc:sldMk cId="431565556" sldId="931"/>
            <ac:spMk id="9" creationId="{69F56BE9-29CA-2153-26C0-49DE64C2AD9C}"/>
          </ac:spMkLst>
        </pc:spChg>
        <pc:spChg chg="mod">
          <ac:chgData name="CACERES SANDOVAL, EVA MARIA" userId="efa43ab3-f30d-49e0-8bcf-cbcf637d4549" providerId="ADAL" clId="{AC524F4A-C208-4D5E-910C-7C486E8EA4B5}" dt="2025-01-20T16:30:13.754" v="1416" actId="20577"/>
          <ac:spMkLst>
            <pc:docMk/>
            <pc:sldMk cId="431565556" sldId="931"/>
            <ac:spMk id="17" creationId="{2F1D8672-4D91-CDB6-8FFF-8DDBD730B453}"/>
          </ac:spMkLst>
        </pc:spChg>
        <pc:grpChg chg="add mod">
          <ac:chgData name="CACERES SANDOVAL, EVA MARIA" userId="efa43ab3-f30d-49e0-8bcf-cbcf637d4549" providerId="ADAL" clId="{AC524F4A-C208-4D5E-910C-7C486E8EA4B5}" dt="2025-01-20T16:31:27.954" v="1439" actId="1076"/>
          <ac:grpSpMkLst>
            <pc:docMk/>
            <pc:sldMk cId="431565556" sldId="931"/>
            <ac:grpSpMk id="7" creationId="{C9F9384B-AFCD-E4A5-BD47-AC6AB5651833}"/>
          </ac:grpSpMkLst>
        </pc:grpChg>
        <pc:picChg chg="mod">
          <ac:chgData name="CACERES SANDOVAL, EVA MARIA" userId="efa43ab3-f30d-49e0-8bcf-cbcf637d4549" providerId="ADAL" clId="{AC524F4A-C208-4D5E-910C-7C486E8EA4B5}" dt="2025-01-20T16:24:35.522" v="895" actId="1076"/>
          <ac:picMkLst>
            <pc:docMk/>
            <pc:sldMk cId="431565556" sldId="931"/>
            <ac:picMk id="8" creationId="{283DCD01-F973-4C84-1FAF-6509770161EF}"/>
          </ac:picMkLst>
        </pc:picChg>
        <pc:cxnChg chg="add mod">
          <ac:chgData name="CACERES SANDOVAL, EVA MARIA" userId="efa43ab3-f30d-49e0-8bcf-cbcf637d4549" providerId="ADAL" clId="{AC524F4A-C208-4D5E-910C-7C486E8EA4B5}" dt="2025-01-20T16:31:43.746" v="1442" actId="13822"/>
          <ac:cxnSpMkLst>
            <pc:docMk/>
            <pc:sldMk cId="431565556" sldId="931"/>
            <ac:cxnSpMk id="11" creationId="{AC65B9C6-3085-73FC-D717-7AF2285CE1F0}"/>
          </ac:cxnSpMkLst>
        </pc:cxnChg>
      </pc:sldChg>
      <pc:sldChg chg="addSp delSp modSp mod">
        <pc:chgData name="CACERES SANDOVAL, EVA MARIA" userId="efa43ab3-f30d-49e0-8bcf-cbcf637d4549" providerId="ADAL" clId="{AC524F4A-C208-4D5E-910C-7C486E8EA4B5}" dt="2025-01-20T18:39:14.935" v="3485" actId="20577"/>
        <pc:sldMkLst>
          <pc:docMk/>
          <pc:sldMk cId="4060697977" sldId="933"/>
        </pc:sldMkLst>
        <pc:spChg chg="mod">
          <ac:chgData name="CACERES SANDOVAL, EVA MARIA" userId="efa43ab3-f30d-49e0-8bcf-cbcf637d4549" providerId="ADAL" clId="{AC524F4A-C208-4D5E-910C-7C486E8EA4B5}" dt="2025-01-20T18:39:05.585" v="3473" actId="6549"/>
          <ac:spMkLst>
            <pc:docMk/>
            <pc:sldMk cId="4060697977" sldId="933"/>
            <ac:spMk id="2" creationId="{D911260F-ED60-62A5-2257-68DDA3BCA723}"/>
          </ac:spMkLst>
        </pc:spChg>
        <pc:spChg chg="add del mod">
          <ac:chgData name="CACERES SANDOVAL, EVA MARIA" userId="efa43ab3-f30d-49e0-8bcf-cbcf637d4549" providerId="ADAL" clId="{AC524F4A-C208-4D5E-910C-7C486E8EA4B5}" dt="2025-01-20T16:34:24.127" v="1551" actId="1076"/>
          <ac:spMkLst>
            <pc:docMk/>
            <pc:sldMk cId="4060697977" sldId="933"/>
            <ac:spMk id="5" creationId="{8424E0A0-0331-BAB1-177C-2EEF0B6BF013}"/>
          </ac:spMkLst>
        </pc:spChg>
        <pc:spChg chg="mod">
          <ac:chgData name="CACERES SANDOVAL, EVA MARIA" userId="efa43ab3-f30d-49e0-8bcf-cbcf637d4549" providerId="ADAL" clId="{AC524F4A-C208-4D5E-910C-7C486E8EA4B5}" dt="2025-01-20T18:39:14.935" v="3485" actId="20577"/>
          <ac:spMkLst>
            <pc:docMk/>
            <pc:sldMk cId="4060697977" sldId="933"/>
            <ac:spMk id="7" creationId="{A4ECA384-825A-F461-83EF-0059D2C17753}"/>
          </ac:spMkLst>
        </pc:spChg>
        <pc:spChg chg="add mod">
          <ac:chgData name="CACERES SANDOVAL, EVA MARIA" userId="efa43ab3-f30d-49e0-8bcf-cbcf637d4549" providerId="ADAL" clId="{AC524F4A-C208-4D5E-910C-7C486E8EA4B5}" dt="2025-01-20T16:35:04.166" v="1562" actId="208"/>
          <ac:spMkLst>
            <pc:docMk/>
            <pc:sldMk cId="4060697977" sldId="933"/>
            <ac:spMk id="9" creationId="{C884A6F1-42EC-7B8A-50A6-7225FF66E093}"/>
          </ac:spMkLst>
        </pc:spChg>
        <pc:spChg chg="add mod">
          <ac:chgData name="CACERES SANDOVAL, EVA MARIA" userId="efa43ab3-f30d-49e0-8bcf-cbcf637d4549" providerId="ADAL" clId="{AC524F4A-C208-4D5E-910C-7C486E8EA4B5}" dt="2025-01-20T16:34:30.015" v="1554" actId="1076"/>
          <ac:spMkLst>
            <pc:docMk/>
            <pc:sldMk cId="4060697977" sldId="933"/>
            <ac:spMk id="10" creationId="{B0501B01-1395-65F6-9179-533106FEBBA0}"/>
          </ac:spMkLst>
        </pc:spChg>
        <pc:spChg chg="add del mod">
          <ac:chgData name="CACERES SANDOVAL, EVA MARIA" userId="efa43ab3-f30d-49e0-8bcf-cbcf637d4549" providerId="ADAL" clId="{AC524F4A-C208-4D5E-910C-7C486E8EA4B5}" dt="2025-01-20T16:44:02.262" v="2128" actId="11529"/>
          <ac:spMkLst>
            <pc:docMk/>
            <pc:sldMk cId="4060697977" sldId="933"/>
            <ac:spMk id="15" creationId="{882D02EF-18EA-6E71-EFE6-11C9DB77A201}"/>
          </ac:spMkLst>
        </pc:spChg>
        <pc:spChg chg="add del">
          <ac:chgData name="CACERES SANDOVAL, EVA MARIA" userId="efa43ab3-f30d-49e0-8bcf-cbcf637d4549" providerId="ADAL" clId="{AC524F4A-C208-4D5E-910C-7C486E8EA4B5}" dt="2025-01-20T16:44:00.754" v="2125" actId="11529"/>
          <ac:spMkLst>
            <pc:docMk/>
            <pc:sldMk cId="4060697977" sldId="933"/>
            <ac:spMk id="16" creationId="{2E8102F2-462A-4397-2893-3E19DD99BEB5}"/>
          </ac:spMkLst>
        </pc:spChg>
        <pc:spChg chg="add del mod">
          <ac:chgData name="CACERES SANDOVAL, EVA MARIA" userId="efa43ab3-f30d-49e0-8bcf-cbcf637d4549" providerId="ADAL" clId="{AC524F4A-C208-4D5E-910C-7C486E8EA4B5}" dt="2025-01-20T16:45:11.866" v="2139" actId="478"/>
          <ac:spMkLst>
            <pc:docMk/>
            <pc:sldMk cId="4060697977" sldId="933"/>
            <ac:spMk id="17" creationId="{E016BEEA-4786-2911-52A7-558646A0C847}"/>
          </ac:spMkLst>
        </pc:spChg>
        <pc:spChg chg="add mod">
          <ac:chgData name="CACERES SANDOVAL, EVA MARIA" userId="efa43ab3-f30d-49e0-8bcf-cbcf637d4549" providerId="ADAL" clId="{AC524F4A-C208-4D5E-910C-7C486E8EA4B5}" dt="2025-01-20T16:45:30.244" v="2146" actId="14100"/>
          <ac:spMkLst>
            <pc:docMk/>
            <pc:sldMk cId="4060697977" sldId="933"/>
            <ac:spMk id="18" creationId="{7796FD48-6946-88B3-5C35-B10F51115600}"/>
          </ac:spMkLst>
        </pc:spChg>
        <pc:picChg chg="add del mod">
          <ac:chgData name="CACERES SANDOVAL, EVA MARIA" userId="efa43ab3-f30d-49e0-8bcf-cbcf637d4549" providerId="ADAL" clId="{AC524F4A-C208-4D5E-910C-7C486E8EA4B5}" dt="2025-01-20T16:23:08.196" v="757" actId="478"/>
          <ac:picMkLst>
            <pc:docMk/>
            <pc:sldMk cId="4060697977" sldId="933"/>
            <ac:picMk id="6" creationId="{3D850058-89C7-15A4-D6BA-4AD933EE49DE}"/>
          </ac:picMkLst>
        </pc:picChg>
        <pc:cxnChg chg="add del mod">
          <ac:chgData name="CACERES SANDOVAL, EVA MARIA" userId="efa43ab3-f30d-49e0-8bcf-cbcf637d4549" providerId="ADAL" clId="{AC524F4A-C208-4D5E-910C-7C486E8EA4B5}" dt="2025-01-20T16:34:37.947" v="1557" actId="478"/>
          <ac:cxnSpMkLst>
            <pc:docMk/>
            <pc:sldMk cId="4060697977" sldId="933"/>
            <ac:cxnSpMk id="12" creationId="{A5695370-85D2-184C-32D6-78E1CFCC0EF1}"/>
          </ac:cxnSpMkLst>
        </pc:cxnChg>
        <pc:cxnChg chg="add mod">
          <ac:chgData name="CACERES SANDOVAL, EVA MARIA" userId="efa43ab3-f30d-49e0-8bcf-cbcf637d4549" providerId="ADAL" clId="{AC524F4A-C208-4D5E-910C-7C486E8EA4B5}" dt="2025-01-20T16:34:48.341" v="1561" actId="13822"/>
          <ac:cxnSpMkLst>
            <pc:docMk/>
            <pc:sldMk cId="4060697977" sldId="933"/>
            <ac:cxnSpMk id="14" creationId="{C907FA04-5C4B-BBC9-8DEA-A043B7E7C5FB}"/>
          </ac:cxnSpMkLst>
        </pc:cxnChg>
      </pc:sldChg>
      <pc:sldChg chg="addSp modSp mod">
        <pc:chgData name="CACERES SANDOVAL, EVA MARIA" userId="efa43ab3-f30d-49e0-8bcf-cbcf637d4549" providerId="ADAL" clId="{AC524F4A-C208-4D5E-910C-7C486E8EA4B5}" dt="2025-01-20T18:39:31.852" v="3502" actId="20577"/>
        <pc:sldMkLst>
          <pc:docMk/>
          <pc:sldMk cId="1416081266" sldId="934"/>
        </pc:sldMkLst>
        <pc:spChg chg="mod">
          <ac:chgData name="CACERES SANDOVAL, EVA MARIA" userId="efa43ab3-f30d-49e0-8bcf-cbcf637d4549" providerId="ADAL" clId="{AC524F4A-C208-4D5E-910C-7C486E8EA4B5}" dt="2025-01-20T18:39:01.903" v="3472" actId="20577"/>
          <ac:spMkLst>
            <pc:docMk/>
            <pc:sldMk cId="1416081266" sldId="934"/>
            <ac:spMk id="2" creationId="{D911260F-ED60-62A5-2257-68DDA3BCA723}"/>
          </ac:spMkLst>
        </pc:spChg>
        <pc:spChg chg="add mod">
          <ac:chgData name="CACERES SANDOVAL, EVA MARIA" userId="efa43ab3-f30d-49e0-8bcf-cbcf637d4549" providerId="ADAL" clId="{AC524F4A-C208-4D5E-910C-7C486E8EA4B5}" dt="2025-01-20T16:45:43.748" v="2151" actId="1036"/>
          <ac:spMkLst>
            <pc:docMk/>
            <pc:sldMk cId="1416081266" sldId="934"/>
            <ac:spMk id="3" creationId="{A792F9BE-D705-ECED-7C53-80A8BCE92E5C}"/>
          </ac:spMkLst>
        </pc:spChg>
        <pc:spChg chg="mod">
          <ac:chgData name="CACERES SANDOVAL, EVA MARIA" userId="efa43ab3-f30d-49e0-8bcf-cbcf637d4549" providerId="ADAL" clId="{AC524F4A-C208-4D5E-910C-7C486E8EA4B5}" dt="2025-01-20T18:39:31.852" v="3502" actId="20577"/>
          <ac:spMkLst>
            <pc:docMk/>
            <pc:sldMk cId="1416081266" sldId="934"/>
            <ac:spMk id="9" creationId="{7BDD199F-AECD-71A1-BE42-943932485A79}"/>
          </ac:spMkLst>
        </pc:spChg>
      </pc:sldChg>
      <pc:sldChg chg="addSp delSp modSp mod">
        <pc:chgData name="CACERES SANDOVAL, EVA MARIA" userId="efa43ab3-f30d-49e0-8bcf-cbcf637d4549" providerId="ADAL" clId="{AC524F4A-C208-4D5E-910C-7C486E8EA4B5}" dt="2025-01-20T17:33:24.525" v="2898" actId="478"/>
        <pc:sldMkLst>
          <pc:docMk/>
          <pc:sldMk cId="1215131089" sldId="936"/>
        </pc:sldMkLst>
        <pc:spChg chg="add mod">
          <ac:chgData name="CACERES SANDOVAL, EVA MARIA" userId="efa43ab3-f30d-49e0-8bcf-cbcf637d4549" providerId="ADAL" clId="{AC524F4A-C208-4D5E-910C-7C486E8EA4B5}" dt="2025-01-20T16:45:49.420" v="2153" actId="1076"/>
          <ac:spMkLst>
            <pc:docMk/>
            <pc:sldMk cId="1215131089" sldId="936"/>
            <ac:spMk id="2" creationId="{93AC81E5-066E-146F-3A2F-C039614F940D}"/>
          </ac:spMkLst>
        </pc:spChg>
        <pc:spChg chg="del">
          <ac:chgData name="CACERES SANDOVAL, EVA MARIA" userId="efa43ab3-f30d-49e0-8bcf-cbcf637d4549" providerId="ADAL" clId="{AC524F4A-C208-4D5E-910C-7C486E8EA4B5}" dt="2025-01-20T17:33:24.525" v="2898" actId="478"/>
          <ac:spMkLst>
            <pc:docMk/>
            <pc:sldMk cId="1215131089" sldId="936"/>
            <ac:spMk id="4" creationId="{90DD10C6-74EA-3967-3CEA-E9412D859CF2}"/>
          </ac:spMkLst>
        </pc:spChg>
        <pc:spChg chg="mod">
          <ac:chgData name="CACERES SANDOVAL, EVA MARIA" userId="efa43ab3-f30d-49e0-8bcf-cbcf637d4549" providerId="ADAL" clId="{AC524F4A-C208-4D5E-910C-7C486E8EA4B5}" dt="2025-01-20T16:36:32.850" v="1681" actId="313"/>
          <ac:spMkLst>
            <pc:docMk/>
            <pc:sldMk cId="1215131089" sldId="936"/>
            <ac:spMk id="9" creationId="{DA5F819D-89B6-B121-879F-E688F5CD9E25}"/>
          </ac:spMkLst>
        </pc:spChg>
        <pc:spChg chg="mod">
          <ac:chgData name="CACERES SANDOVAL, EVA MARIA" userId="efa43ab3-f30d-49e0-8bcf-cbcf637d4549" providerId="ADAL" clId="{AC524F4A-C208-4D5E-910C-7C486E8EA4B5}" dt="2025-01-20T16:36:39.398" v="1682" actId="20577"/>
          <ac:spMkLst>
            <pc:docMk/>
            <pc:sldMk cId="1215131089" sldId="936"/>
            <ac:spMk id="10" creationId="{D715F8AF-90E4-5089-CCA1-38D35B4F5D81}"/>
          </ac:spMkLst>
        </pc:spChg>
        <pc:spChg chg="mod">
          <ac:chgData name="CACERES SANDOVAL, EVA MARIA" userId="efa43ab3-f30d-49e0-8bcf-cbcf637d4549" providerId="ADAL" clId="{AC524F4A-C208-4D5E-910C-7C486E8EA4B5}" dt="2025-01-20T16:35:59.345" v="1566" actId="1076"/>
          <ac:spMkLst>
            <pc:docMk/>
            <pc:sldMk cId="1215131089" sldId="936"/>
            <ac:spMk id="12" creationId="{FD3CEE6C-D14B-FA0F-A141-AE6259F4809D}"/>
          </ac:spMkLst>
        </pc:spChg>
      </pc:sldChg>
      <pc:sldChg chg="addSp delSp modSp mod">
        <pc:chgData name="CACERES SANDOVAL, EVA MARIA" userId="efa43ab3-f30d-49e0-8bcf-cbcf637d4549" providerId="ADAL" clId="{AC524F4A-C208-4D5E-910C-7C486E8EA4B5}" dt="2025-01-20T18:26:38.754" v="2975" actId="1076"/>
        <pc:sldMkLst>
          <pc:docMk/>
          <pc:sldMk cId="4091519663" sldId="8132"/>
        </pc:sldMkLst>
        <pc:spChg chg="del">
          <ac:chgData name="CACERES SANDOVAL, EVA MARIA" userId="efa43ab3-f30d-49e0-8bcf-cbcf637d4549" providerId="ADAL" clId="{AC524F4A-C208-4D5E-910C-7C486E8EA4B5}" dt="2025-01-20T17:33:37.657" v="2900" actId="478"/>
          <ac:spMkLst>
            <pc:docMk/>
            <pc:sldMk cId="4091519663" sldId="8132"/>
            <ac:spMk id="4" creationId="{D2607E6F-AD79-46D1-B5A9-6387F3F7DA96}"/>
          </ac:spMkLst>
        </pc:spChg>
        <pc:picChg chg="add del mod">
          <ac:chgData name="CACERES SANDOVAL, EVA MARIA" userId="efa43ab3-f30d-49e0-8bcf-cbcf637d4549" providerId="ADAL" clId="{AC524F4A-C208-4D5E-910C-7C486E8EA4B5}" dt="2025-01-20T18:26:03.022" v="2969" actId="478"/>
          <ac:picMkLst>
            <pc:docMk/>
            <pc:sldMk cId="4091519663" sldId="8132"/>
            <ac:picMk id="2" creationId="{295C2785-A17A-76B8-2EDD-39E17015C751}"/>
          </ac:picMkLst>
        </pc:picChg>
        <pc:picChg chg="add mod">
          <ac:chgData name="CACERES SANDOVAL, EVA MARIA" userId="efa43ab3-f30d-49e0-8bcf-cbcf637d4549" providerId="ADAL" clId="{AC524F4A-C208-4D5E-910C-7C486E8EA4B5}" dt="2025-01-20T18:26:38.754" v="2975" actId="1076"/>
          <ac:picMkLst>
            <pc:docMk/>
            <pc:sldMk cId="4091519663" sldId="8132"/>
            <ac:picMk id="3" creationId="{42D3F4AE-BA85-6742-50F5-78F4CBDCE790}"/>
          </ac:picMkLst>
        </pc:picChg>
      </pc:sldChg>
      <pc:sldChg chg="addSp modSp mod">
        <pc:chgData name="CACERES SANDOVAL, EVA MARIA" userId="efa43ab3-f30d-49e0-8bcf-cbcf637d4549" providerId="ADAL" clId="{AC524F4A-C208-4D5E-910C-7C486E8EA4B5}" dt="2025-01-20T16:29:46.985" v="1399"/>
        <pc:sldMkLst>
          <pc:docMk/>
          <pc:sldMk cId="1872708884" sldId="8141"/>
        </pc:sldMkLst>
        <pc:spChg chg="mod ord">
          <ac:chgData name="CACERES SANDOVAL, EVA MARIA" userId="efa43ab3-f30d-49e0-8bcf-cbcf637d4549" providerId="ADAL" clId="{AC524F4A-C208-4D5E-910C-7C486E8EA4B5}" dt="2025-01-20T16:29:46.985" v="1399"/>
          <ac:spMkLst>
            <pc:docMk/>
            <pc:sldMk cId="1872708884" sldId="8141"/>
            <ac:spMk id="3" creationId="{DDC1E40E-29AE-B484-AD90-81E70EF536C7}"/>
          </ac:spMkLst>
        </pc:spChg>
        <pc:spChg chg="mod">
          <ac:chgData name="CACERES SANDOVAL, EVA MARIA" userId="efa43ab3-f30d-49e0-8bcf-cbcf637d4549" providerId="ADAL" clId="{AC524F4A-C208-4D5E-910C-7C486E8EA4B5}" dt="2025-01-20T16:28:52.830" v="1333" actId="1036"/>
          <ac:spMkLst>
            <pc:docMk/>
            <pc:sldMk cId="1872708884" sldId="8141"/>
            <ac:spMk id="5" creationId="{75129168-3700-2A16-D025-65CD1FCFF45A}"/>
          </ac:spMkLst>
        </pc:spChg>
        <pc:spChg chg="mod">
          <ac:chgData name="CACERES SANDOVAL, EVA MARIA" userId="efa43ab3-f30d-49e0-8bcf-cbcf637d4549" providerId="ADAL" clId="{AC524F4A-C208-4D5E-910C-7C486E8EA4B5}" dt="2025-01-20T16:28:42.280" v="1329" actId="20577"/>
          <ac:spMkLst>
            <pc:docMk/>
            <pc:sldMk cId="1872708884" sldId="8141"/>
            <ac:spMk id="7" creationId="{EB20A15D-1831-28E0-AFDA-CC489A3549DA}"/>
          </ac:spMkLst>
        </pc:spChg>
        <pc:spChg chg="mod">
          <ac:chgData name="CACERES SANDOVAL, EVA MARIA" userId="efa43ab3-f30d-49e0-8bcf-cbcf637d4549" providerId="ADAL" clId="{AC524F4A-C208-4D5E-910C-7C486E8EA4B5}" dt="2025-01-20T16:20:39.383" v="730" actId="1076"/>
          <ac:spMkLst>
            <pc:docMk/>
            <pc:sldMk cId="1872708884" sldId="8141"/>
            <ac:spMk id="12" creationId="{6AF86990-D704-F68C-EE2F-A57F9614F2EB}"/>
          </ac:spMkLst>
        </pc:spChg>
        <pc:spChg chg="add mod">
          <ac:chgData name="CACERES SANDOVAL, EVA MARIA" userId="efa43ab3-f30d-49e0-8bcf-cbcf637d4549" providerId="ADAL" clId="{AC524F4A-C208-4D5E-910C-7C486E8EA4B5}" dt="2025-01-20T16:29:24.438" v="1390" actId="1076"/>
          <ac:spMkLst>
            <pc:docMk/>
            <pc:sldMk cId="1872708884" sldId="8141"/>
            <ac:spMk id="19" creationId="{FCEE385D-E595-8CAB-026D-489C5792E15F}"/>
          </ac:spMkLst>
        </pc:spChg>
        <pc:grpChg chg="mod">
          <ac:chgData name="CACERES SANDOVAL, EVA MARIA" userId="efa43ab3-f30d-49e0-8bcf-cbcf637d4549" providerId="ADAL" clId="{AC524F4A-C208-4D5E-910C-7C486E8EA4B5}" dt="2025-01-20T16:20:39.383" v="730" actId="1076"/>
          <ac:grpSpMkLst>
            <pc:docMk/>
            <pc:sldMk cId="1872708884" sldId="8141"/>
            <ac:grpSpMk id="6" creationId="{F04550BE-C41C-29C9-C7D5-77142109DD53}"/>
          </ac:grpSpMkLst>
        </pc:grpChg>
        <pc:grpChg chg="mod">
          <ac:chgData name="CACERES SANDOVAL, EVA MARIA" userId="efa43ab3-f30d-49e0-8bcf-cbcf637d4549" providerId="ADAL" clId="{AC524F4A-C208-4D5E-910C-7C486E8EA4B5}" dt="2025-01-20T16:20:39.383" v="730" actId="1076"/>
          <ac:grpSpMkLst>
            <pc:docMk/>
            <pc:sldMk cId="1872708884" sldId="8141"/>
            <ac:grpSpMk id="10" creationId="{C24414E1-5708-BC1B-1A0C-9A8D228BC414}"/>
          </ac:grpSpMkLst>
        </pc:grpChg>
        <pc:grpChg chg="mod">
          <ac:chgData name="CACERES SANDOVAL, EVA MARIA" userId="efa43ab3-f30d-49e0-8bcf-cbcf637d4549" providerId="ADAL" clId="{AC524F4A-C208-4D5E-910C-7C486E8EA4B5}" dt="2025-01-20T16:20:39.383" v="730" actId="1076"/>
          <ac:grpSpMkLst>
            <pc:docMk/>
            <pc:sldMk cId="1872708884" sldId="8141"/>
            <ac:grpSpMk id="13" creationId="{F1466051-E3EF-4C2F-F9D9-89BEDDD2F594}"/>
          </ac:grpSpMkLst>
        </pc:grpChg>
        <pc:grpChg chg="add mod">
          <ac:chgData name="CACERES SANDOVAL, EVA MARIA" userId="efa43ab3-f30d-49e0-8bcf-cbcf637d4549" providerId="ADAL" clId="{AC524F4A-C208-4D5E-910C-7C486E8EA4B5}" dt="2025-01-20T16:20:39.383" v="730" actId="1076"/>
          <ac:grpSpMkLst>
            <pc:docMk/>
            <pc:sldMk cId="1872708884" sldId="8141"/>
            <ac:grpSpMk id="17" creationId="{E3D3E25B-F25E-8B6E-BF06-99C54BAF2E8A}"/>
          </ac:grpSpMkLst>
        </pc:grpChg>
        <pc:grpChg chg="add mod">
          <ac:chgData name="CACERES SANDOVAL, EVA MARIA" userId="efa43ab3-f30d-49e0-8bcf-cbcf637d4549" providerId="ADAL" clId="{AC524F4A-C208-4D5E-910C-7C486E8EA4B5}" dt="2025-01-20T16:20:05.746" v="715" actId="1076"/>
          <ac:grpSpMkLst>
            <pc:docMk/>
            <pc:sldMk cId="1872708884" sldId="8141"/>
            <ac:grpSpMk id="18" creationId="{E613D88F-83F3-CABE-03A4-A1BE8A533B53}"/>
          </ac:grpSpMkLst>
        </pc:grpChg>
        <pc:picChg chg="mod">
          <ac:chgData name="CACERES SANDOVAL, EVA MARIA" userId="efa43ab3-f30d-49e0-8bcf-cbcf637d4549" providerId="ADAL" clId="{AC524F4A-C208-4D5E-910C-7C486E8EA4B5}" dt="2025-01-20T16:20:39.383" v="730" actId="1076"/>
          <ac:picMkLst>
            <pc:docMk/>
            <pc:sldMk cId="1872708884" sldId="8141"/>
            <ac:picMk id="11" creationId="{8079B861-C062-DD81-1979-FA3BEB730B78}"/>
          </ac:picMkLst>
        </pc:picChg>
        <pc:picChg chg="add mod">
          <ac:chgData name="CACERES SANDOVAL, EVA MARIA" userId="efa43ab3-f30d-49e0-8bcf-cbcf637d4549" providerId="ADAL" clId="{AC524F4A-C208-4D5E-910C-7C486E8EA4B5}" dt="2025-01-20T16:20:04.829" v="714" actId="164"/>
          <ac:picMkLst>
            <pc:docMk/>
            <pc:sldMk cId="1872708884" sldId="8141"/>
            <ac:picMk id="14" creationId="{83F01ADC-7E88-C9DA-3EA2-A70FE88DA2D6}"/>
          </ac:picMkLst>
        </pc:picChg>
        <pc:picChg chg="add mod">
          <ac:chgData name="CACERES SANDOVAL, EVA MARIA" userId="efa43ab3-f30d-49e0-8bcf-cbcf637d4549" providerId="ADAL" clId="{AC524F4A-C208-4D5E-910C-7C486E8EA4B5}" dt="2025-01-20T16:20:04.829" v="714" actId="164"/>
          <ac:picMkLst>
            <pc:docMk/>
            <pc:sldMk cId="1872708884" sldId="8141"/>
            <ac:picMk id="16" creationId="{B38B730C-D039-19B4-806E-692812D4A8F4}"/>
          </ac:picMkLst>
        </pc:picChg>
        <pc:picChg chg="mod">
          <ac:chgData name="CACERES SANDOVAL, EVA MARIA" userId="efa43ab3-f30d-49e0-8bcf-cbcf637d4549" providerId="ADAL" clId="{AC524F4A-C208-4D5E-910C-7C486E8EA4B5}" dt="2025-01-20T16:20:39.383" v="730" actId="1076"/>
          <ac:picMkLst>
            <pc:docMk/>
            <pc:sldMk cId="1872708884" sldId="8141"/>
            <ac:picMk id="1028" creationId="{E33DB0A0-5C6A-F08A-F04C-629F8A661877}"/>
          </ac:picMkLst>
        </pc:picChg>
        <pc:cxnChg chg="mod">
          <ac:chgData name="CACERES SANDOVAL, EVA MARIA" userId="efa43ab3-f30d-49e0-8bcf-cbcf637d4549" providerId="ADAL" clId="{AC524F4A-C208-4D5E-910C-7C486E8EA4B5}" dt="2025-01-20T16:20:39.383" v="730" actId="1076"/>
          <ac:cxnSpMkLst>
            <pc:docMk/>
            <pc:sldMk cId="1872708884" sldId="8141"/>
            <ac:cxnSpMk id="8" creationId="{601CF9F4-0D52-57F9-AC9A-9223A64D9F9F}"/>
          </ac:cxnSpMkLst>
        </pc:cxnChg>
      </pc:sldChg>
      <pc:sldChg chg="addSp delSp modSp mod">
        <pc:chgData name="CACERES SANDOVAL, EVA MARIA" userId="efa43ab3-f30d-49e0-8bcf-cbcf637d4549" providerId="ADAL" clId="{AC524F4A-C208-4D5E-910C-7C486E8EA4B5}" dt="2025-01-20T17:33:19.183" v="2897" actId="478"/>
        <pc:sldMkLst>
          <pc:docMk/>
          <pc:sldMk cId="3293214524" sldId="8143"/>
        </pc:sldMkLst>
        <pc:spChg chg="add mod">
          <ac:chgData name="CACERES SANDOVAL, EVA MARIA" userId="efa43ab3-f30d-49e0-8bcf-cbcf637d4549" providerId="ADAL" clId="{AC524F4A-C208-4D5E-910C-7C486E8EA4B5}" dt="2025-01-20T16:46:19.441" v="2157" actId="1582"/>
          <ac:spMkLst>
            <pc:docMk/>
            <pc:sldMk cId="3293214524" sldId="8143"/>
            <ac:spMk id="2" creationId="{F49C8639-48B5-EB05-55E8-8845C139D44F}"/>
          </ac:spMkLst>
        </pc:spChg>
        <pc:spChg chg="add mod">
          <ac:chgData name="CACERES SANDOVAL, EVA MARIA" userId="efa43ab3-f30d-49e0-8bcf-cbcf637d4549" providerId="ADAL" clId="{AC524F4A-C208-4D5E-910C-7C486E8EA4B5}" dt="2025-01-20T16:49:27.002" v="2383" actId="1076"/>
          <ac:spMkLst>
            <pc:docMk/>
            <pc:sldMk cId="3293214524" sldId="8143"/>
            <ac:spMk id="3" creationId="{29D7D2A5-FD6C-2E75-DDBE-30498BB81BDB}"/>
          </ac:spMkLst>
        </pc:spChg>
        <pc:spChg chg="del">
          <ac:chgData name="CACERES SANDOVAL, EVA MARIA" userId="efa43ab3-f30d-49e0-8bcf-cbcf637d4549" providerId="ADAL" clId="{AC524F4A-C208-4D5E-910C-7C486E8EA4B5}" dt="2025-01-20T17:33:19.183" v="2897" actId="478"/>
          <ac:spMkLst>
            <pc:docMk/>
            <pc:sldMk cId="3293214524" sldId="8143"/>
            <ac:spMk id="4" creationId="{90DD10C6-74EA-3967-3CEA-E9412D859CF2}"/>
          </ac:spMkLst>
        </pc:spChg>
        <pc:spChg chg="mod">
          <ac:chgData name="CACERES SANDOVAL, EVA MARIA" userId="efa43ab3-f30d-49e0-8bcf-cbcf637d4549" providerId="ADAL" clId="{AC524F4A-C208-4D5E-910C-7C486E8EA4B5}" dt="2025-01-20T17:06:02.639" v="2693" actId="20577"/>
          <ac:spMkLst>
            <pc:docMk/>
            <pc:sldMk cId="3293214524" sldId="8143"/>
            <ac:spMk id="9" creationId="{DA5F819D-89B6-B121-879F-E688F5CD9E25}"/>
          </ac:spMkLst>
        </pc:spChg>
        <pc:spChg chg="mod">
          <ac:chgData name="CACERES SANDOVAL, EVA MARIA" userId="efa43ab3-f30d-49e0-8bcf-cbcf637d4549" providerId="ADAL" clId="{AC524F4A-C208-4D5E-910C-7C486E8EA4B5}" dt="2025-01-20T16:54:57.618" v="2659" actId="1076"/>
          <ac:spMkLst>
            <pc:docMk/>
            <pc:sldMk cId="3293214524" sldId="8143"/>
            <ac:spMk id="11" creationId="{CD52D7D1-8977-C97A-667E-9295A6BA6233}"/>
          </ac:spMkLst>
        </pc:spChg>
      </pc:sldChg>
      <pc:sldChg chg="delSp modSp add del mod">
        <pc:chgData name="CACERES SANDOVAL, EVA MARIA" userId="efa43ab3-f30d-49e0-8bcf-cbcf637d4549" providerId="ADAL" clId="{AC524F4A-C208-4D5E-910C-7C486E8EA4B5}" dt="2025-01-20T17:33:17.183" v="2896" actId="478"/>
        <pc:sldMkLst>
          <pc:docMk/>
          <pc:sldMk cId="2105858830" sldId="8144"/>
        </pc:sldMkLst>
        <pc:spChg chg="del">
          <ac:chgData name="CACERES SANDOVAL, EVA MARIA" userId="efa43ab3-f30d-49e0-8bcf-cbcf637d4549" providerId="ADAL" clId="{AC524F4A-C208-4D5E-910C-7C486E8EA4B5}" dt="2025-01-20T17:33:17.183" v="2896" actId="478"/>
          <ac:spMkLst>
            <pc:docMk/>
            <pc:sldMk cId="2105858830" sldId="8144"/>
            <ac:spMk id="4" creationId="{90DD10C6-74EA-3967-3CEA-E9412D859CF2}"/>
          </ac:spMkLst>
        </pc:spChg>
        <pc:spChg chg="mod">
          <ac:chgData name="CACERES SANDOVAL, EVA MARIA" userId="efa43ab3-f30d-49e0-8bcf-cbcf637d4549" providerId="ADAL" clId="{AC524F4A-C208-4D5E-910C-7C486E8EA4B5}" dt="2025-01-20T17:23:09.983" v="2697" actId="6549"/>
          <ac:spMkLst>
            <pc:docMk/>
            <pc:sldMk cId="2105858830" sldId="8144"/>
            <ac:spMk id="9" creationId="{DA5F819D-89B6-B121-879F-E688F5CD9E25}"/>
          </ac:spMkLst>
        </pc:spChg>
      </pc:sldChg>
      <pc:sldChg chg="addSp delSp modSp mod">
        <pc:chgData name="CACERES SANDOVAL, EVA MARIA" userId="efa43ab3-f30d-49e0-8bcf-cbcf637d4549" providerId="ADAL" clId="{AC524F4A-C208-4D5E-910C-7C486E8EA4B5}" dt="2025-01-20T18:42:52.708" v="3672" actId="5793"/>
        <pc:sldMkLst>
          <pc:docMk/>
          <pc:sldMk cId="3715989853" sldId="8145"/>
        </pc:sldMkLst>
        <pc:spChg chg="del">
          <ac:chgData name="CACERES SANDOVAL, EVA MARIA" userId="efa43ab3-f30d-49e0-8bcf-cbcf637d4549" providerId="ADAL" clId="{AC524F4A-C208-4D5E-910C-7C486E8EA4B5}" dt="2025-01-20T17:33:14.451" v="2895" actId="478"/>
          <ac:spMkLst>
            <pc:docMk/>
            <pc:sldMk cId="3715989853" sldId="8145"/>
            <ac:spMk id="4" creationId="{90DD10C6-74EA-3967-3CEA-E9412D859CF2}"/>
          </ac:spMkLst>
        </pc:spChg>
        <pc:spChg chg="add mod">
          <ac:chgData name="CACERES SANDOVAL, EVA MARIA" userId="efa43ab3-f30d-49e0-8bcf-cbcf637d4549" providerId="ADAL" clId="{AC524F4A-C208-4D5E-910C-7C486E8EA4B5}" dt="2025-01-20T17:28:48.276" v="2761" actId="1076"/>
          <ac:spMkLst>
            <pc:docMk/>
            <pc:sldMk cId="3715989853" sldId="8145"/>
            <ac:spMk id="6" creationId="{FD391578-593A-879E-76F7-70C8B4B152E0}"/>
          </ac:spMkLst>
        </pc:spChg>
        <pc:spChg chg="mod">
          <ac:chgData name="CACERES SANDOVAL, EVA MARIA" userId="efa43ab3-f30d-49e0-8bcf-cbcf637d4549" providerId="ADAL" clId="{AC524F4A-C208-4D5E-910C-7C486E8EA4B5}" dt="2025-01-20T18:42:52.708" v="3672" actId="5793"/>
          <ac:spMkLst>
            <pc:docMk/>
            <pc:sldMk cId="3715989853" sldId="8145"/>
            <ac:spMk id="9" creationId="{DA5F819D-89B6-B121-879F-E688F5CD9E25}"/>
          </ac:spMkLst>
        </pc:spChg>
        <pc:picChg chg="add mod">
          <ac:chgData name="CACERES SANDOVAL, EVA MARIA" userId="efa43ab3-f30d-49e0-8bcf-cbcf637d4549" providerId="ADAL" clId="{AC524F4A-C208-4D5E-910C-7C486E8EA4B5}" dt="2025-01-20T17:28:02.289" v="2733" actId="1076"/>
          <ac:picMkLst>
            <pc:docMk/>
            <pc:sldMk cId="3715989853" sldId="8145"/>
            <ac:picMk id="5" creationId="{CAB8CDAC-7638-C09E-7C5F-1262763BF310}"/>
          </ac:picMkLst>
        </pc:picChg>
        <pc:picChg chg="del">
          <ac:chgData name="CACERES SANDOVAL, EVA MARIA" userId="efa43ab3-f30d-49e0-8bcf-cbcf637d4549" providerId="ADAL" clId="{AC524F4A-C208-4D5E-910C-7C486E8EA4B5}" dt="2025-01-20T17:22:38.409" v="2694" actId="478"/>
          <ac:picMkLst>
            <pc:docMk/>
            <pc:sldMk cId="3715989853" sldId="8145"/>
            <ac:picMk id="7" creationId="{C26F053B-1DF6-2550-210E-A43B5C1F7DF4}"/>
          </ac:picMkLst>
        </pc:picChg>
      </pc:sldChg>
      <pc:sldChg chg="addSp delSp modSp mod">
        <pc:chgData name="CACERES SANDOVAL, EVA MARIA" userId="efa43ab3-f30d-49e0-8bcf-cbcf637d4549" providerId="ADAL" clId="{AC524F4A-C208-4D5E-910C-7C486E8EA4B5}" dt="2025-01-20T18:42:04.507" v="3510" actId="20577"/>
        <pc:sldMkLst>
          <pc:docMk/>
          <pc:sldMk cId="1445624873" sldId="8146"/>
        </pc:sldMkLst>
        <pc:spChg chg="del">
          <ac:chgData name="CACERES SANDOVAL, EVA MARIA" userId="efa43ab3-f30d-49e0-8bcf-cbcf637d4549" providerId="ADAL" clId="{AC524F4A-C208-4D5E-910C-7C486E8EA4B5}" dt="2025-01-20T17:33:12.615" v="2894" actId="478"/>
          <ac:spMkLst>
            <pc:docMk/>
            <pc:sldMk cId="1445624873" sldId="8146"/>
            <ac:spMk id="4" creationId="{90DD10C6-74EA-3967-3CEA-E9412D859CF2}"/>
          </ac:spMkLst>
        </pc:spChg>
        <pc:spChg chg="mod">
          <ac:chgData name="CACERES SANDOVAL, EVA MARIA" userId="efa43ab3-f30d-49e0-8bcf-cbcf637d4549" providerId="ADAL" clId="{AC524F4A-C208-4D5E-910C-7C486E8EA4B5}" dt="2025-01-20T18:42:04.507" v="3510" actId="20577"/>
          <ac:spMkLst>
            <pc:docMk/>
            <pc:sldMk cId="1445624873" sldId="8146"/>
            <ac:spMk id="9" creationId="{DA5F819D-89B6-B121-879F-E688F5CD9E25}"/>
          </ac:spMkLst>
        </pc:spChg>
        <pc:spChg chg="add mod">
          <ac:chgData name="CACERES SANDOVAL, EVA MARIA" userId="efa43ab3-f30d-49e0-8bcf-cbcf637d4549" providerId="ADAL" clId="{AC524F4A-C208-4D5E-910C-7C486E8EA4B5}" dt="2025-01-20T17:28:33.765" v="2759" actId="207"/>
          <ac:spMkLst>
            <pc:docMk/>
            <pc:sldMk cId="1445624873" sldId="8146"/>
            <ac:spMk id="13" creationId="{6AB83DF5-93D1-CC2C-DB11-713DD3472774}"/>
          </ac:spMkLst>
        </pc:spChg>
        <pc:picChg chg="del">
          <ac:chgData name="CACERES SANDOVAL, EVA MARIA" userId="efa43ab3-f30d-49e0-8bcf-cbcf637d4549" providerId="ADAL" clId="{AC524F4A-C208-4D5E-910C-7C486E8EA4B5}" dt="2025-01-20T17:24:47.273" v="2698" actId="478"/>
          <ac:picMkLst>
            <pc:docMk/>
            <pc:sldMk cId="1445624873" sldId="8146"/>
            <ac:picMk id="5" creationId="{3A165565-499C-9290-23DE-B0DA8D2B4CBF}"/>
          </ac:picMkLst>
        </pc:picChg>
        <pc:picChg chg="add del mod">
          <ac:chgData name="CACERES SANDOVAL, EVA MARIA" userId="efa43ab3-f30d-49e0-8bcf-cbcf637d4549" providerId="ADAL" clId="{AC524F4A-C208-4D5E-910C-7C486E8EA4B5}" dt="2025-01-20T17:25:23.185" v="2707" actId="478"/>
          <ac:picMkLst>
            <pc:docMk/>
            <pc:sldMk cId="1445624873" sldId="8146"/>
            <ac:picMk id="6" creationId="{BD7F700F-A38A-3C1B-E22F-DA591305259D}"/>
          </ac:picMkLst>
        </pc:picChg>
        <pc:picChg chg="add del mod">
          <ac:chgData name="CACERES SANDOVAL, EVA MARIA" userId="efa43ab3-f30d-49e0-8bcf-cbcf637d4549" providerId="ADAL" clId="{AC524F4A-C208-4D5E-910C-7C486E8EA4B5}" dt="2025-01-20T17:27:14.844" v="2720" actId="478"/>
          <ac:picMkLst>
            <pc:docMk/>
            <pc:sldMk cId="1445624873" sldId="8146"/>
            <ac:picMk id="8" creationId="{EA9CA2D9-D6A7-DB69-BEFE-E0BA1A7B8736}"/>
          </ac:picMkLst>
        </pc:picChg>
        <pc:picChg chg="add mod">
          <ac:chgData name="CACERES SANDOVAL, EVA MARIA" userId="efa43ab3-f30d-49e0-8bcf-cbcf637d4549" providerId="ADAL" clId="{AC524F4A-C208-4D5E-910C-7C486E8EA4B5}" dt="2025-01-20T17:28:09.277" v="2734" actId="1076"/>
          <ac:picMkLst>
            <pc:docMk/>
            <pc:sldMk cId="1445624873" sldId="8146"/>
            <ac:picMk id="12" creationId="{61801C27-F702-C6B0-3493-9C030D1EFC6D}"/>
          </ac:picMkLst>
        </pc:picChg>
      </pc:sldChg>
      <pc:sldChg chg="addSp delSp modSp mod">
        <pc:chgData name="CACERES SANDOVAL, EVA MARIA" userId="efa43ab3-f30d-49e0-8bcf-cbcf637d4549" providerId="ADAL" clId="{AC524F4A-C208-4D5E-910C-7C486E8EA4B5}" dt="2025-01-20T18:43:09.729" v="3691" actId="20577"/>
        <pc:sldMkLst>
          <pc:docMk/>
          <pc:sldMk cId="2472265382" sldId="8147"/>
        </pc:sldMkLst>
        <pc:spChg chg="add mod">
          <ac:chgData name="CACERES SANDOVAL, EVA MARIA" userId="efa43ab3-f30d-49e0-8bcf-cbcf637d4549" providerId="ADAL" clId="{AC524F4A-C208-4D5E-910C-7C486E8EA4B5}" dt="2025-01-20T17:29:25.515" v="2769" actId="1076"/>
          <ac:spMkLst>
            <pc:docMk/>
            <pc:sldMk cId="2472265382" sldId="8147"/>
            <ac:spMk id="2" creationId="{A4736682-24D5-0F30-4687-6EB36F002A84}"/>
          </ac:spMkLst>
        </pc:spChg>
        <pc:spChg chg="del">
          <ac:chgData name="CACERES SANDOVAL, EVA MARIA" userId="efa43ab3-f30d-49e0-8bcf-cbcf637d4549" providerId="ADAL" clId="{AC524F4A-C208-4D5E-910C-7C486E8EA4B5}" dt="2025-01-20T17:33:10.270" v="2893" actId="478"/>
          <ac:spMkLst>
            <pc:docMk/>
            <pc:sldMk cId="2472265382" sldId="8147"/>
            <ac:spMk id="4" creationId="{90DD10C6-74EA-3967-3CEA-E9412D859CF2}"/>
          </ac:spMkLst>
        </pc:spChg>
        <pc:spChg chg="mod">
          <ac:chgData name="CACERES SANDOVAL, EVA MARIA" userId="efa43ab3-f30d-49e0-8bcf-cbcf637d4549" providerId="ADAL" clId="{AC524F4A-C208-4D5E-910C-7C486E8EA4B5}" dt="2025-01-20T18:43:09.729" v="3691" actId="20577"/>
          <ac:spMkLst>
            <pc:docMk/>
            <pc:sldMk cId="2472265382" sldId="8147"/>
            <ac:spMk id="9" creationId="{DA5F819D-89B6-B121-879F-E688F5CD9E25}"/>
          </ac:spMkLst>
        </pc:spChg>
        <pc:picChg chg="add mod">
          <ac:chgData name="CACERES SANDOVAL, EVA MARIA" userId="efa43ab3-f30d-49e0-8bcf-cbcf637d4549" providerId="ADAL" clId="{AC524F4A-C208-4D5E-910C-7C486E8EA4B5}" dt="2025-01-20T17:29:29.440" v="2771" actId="1582"/>
          <ac:picMkLst>
            <pc:docMk/>
            <pc:sldMk cId="2472265382" sldId="8147"/>
            <ac:picMk id="6" creationId="{DDCC2F01-DFF3-C85E-1CF5-F768CE2A1D81}"/>
          </ac:picMkLst>
        </pc:picChg>
        <pc:picChg chg="del">
          <ac:chgData name="CACERES SANDOVAL, EVA MARIA" userId="efa43ab3-f30d-49e0-8bcf-cbcf637d4549" providerId="ADAL" clId="{AC524F4A-C208-4D5E-910C-7C486E8EA4B5}" dt="2025-01-20T17:29:01.689" v="2764" actId="478"/>
          <ac:picMkLst>
            <pc:docMk/>
            <pc:sldMk cId="2472265382" sldId="8147"/>
            <ac:picMk id="6146" creationId="{0C2492B8-EC1F-2A45-99FE-3F10356FCC63}"/>
          </ac:picMkLst>
        </pc:picChg>
      </pc:sldChg>
      <pc:sldChg chg="delSp mod">
        <pc:chgData name="CACERES SANDOVAL, EVA MARIA" userId="efa43ab3-f30d-49e0-8bcf-cbcf637d4549" providerId="ADAL" clId="{AC524F4A-C208-4D5E-910C-7C486E8EA4B5}" dt="2025-01-20T17:32:55.958" v="2889" actId="478"/>
        <pc:sldMkLst>
          <pc:docMk/>
          <pc:sldMk cId="3134077478" sldId="8148"/>
        </pc:sldMkLst>
        <pc:spChg chg="del">
          <ac:chgData name="CACERES SANDOVAL, EVA MARIA" userId="efa43ab3-f30d-49e0-8bcf-cbcf637d4549" providerId="ADAL" clId="{AC524F4A-C208-4D5E-910C-7C486E8EA4B5}" dt="2025-01-20T17:32:55.958" v="2889" actId="478"/>
          <ac:spMkLst>
            <pc:docMk/>
            <pc:sldMk cId="3134077478" sldId="8148"/>
            <ac:spMk id="4" creationId="{90DD10C6-74EA-3967-3CEA-E9412D859CF2}"/>
          </ac:spMkLst>
        </pc:spChg>
      </pc:sldChg>
      <pc:sldChg chg="delSp mod">
        <pc:chgData name="CACERES SANDOVAL, EVA MARIA" userId="efa43ab3-f30d-49e0-8bcf-cbcf637d4549" providerId="ADAL" clId="{AC524F4A-C208-4D5E-910C-7C486E8EA4B5}" dt="2025-01-20T17:33:02.994" v="2891" actId="478"/>
        <pc:sldMkLst>
          <pc:docMk/>
          <pc:sldMk cId="2171042192" sldId="8149"/>
        </pc:sldMkLst>
        <pc:spChg chg="del">
          <ac:chgData name="CACERES SANDOVAL, EVA MARIA" userId="efa43ab3-f30d-49e0-8bcf-cbcf637d4549" providerId="ADAL" clId="{AC524F4A-C208-4D5E-910C-7C486E8EA4B5}" dt="2025-01-20T17:33:02.994" v="2891" actId="478"/>
          <ac:spMkLst>
            <pc:docMk/>
            <pc:sldMk cId="2171042192" sldId="8149"/>
            <ac:spMk id="4" creationId="{90DD10C6-74EA-3967-3CEA-E9412D859CF2}"/>
          </ac:spMkLst>
        </pc:spChg>
      </pc:sldChg>
      <pc:sldChg chg="delSp mod">
        <pc:chgData name="CACERES SANDOVAL, EVA MARIA" userId="efa43ab3-f30d-49e0-8bcf-cbcf637d4549" providerId="ADAL" clId="{AC524F4A-C208-4D5E-910C-7C486E8EA4B5}" dt="2025-01-20T17:33:00.601" v="2890" actId="478"/>
        <pc:sldMkLst>
          <pc:docMk/>
          <pc:sldMk cId="4054008323" sldId="8150"/>
        </pc:sldMkLst>
        <pc:spChg chg="del">
          <ac:chgData name="CACERES SANDOVAL, EVA MARIA" userId="efa43ab3-f30d-49e0-8bcf-cbcf637d4549" providerId="ADAL" clId="{AC524F4A-C208-4D5E-910C-7C486E8EA4B5}" dt="2025-01-20T17:33:00.601" v="2890" actId="478"/>
          <ac:spMkLst>
            <pc:docMk/>
            <pc:sldMk cId="4054008323" sldId="8150"/>
            <ac:spMk id="4" creationId="{90DD10C6-74EA-3967-3CEA-E9412D859CF2}"/>
          </ac:spMkLst>
        </pc:spChg>
      </pc:sldChg>
      <pc:sldChg chg="addSp delSp modSp mod">
        <pc:chgData name="CACERES SANDOVAL, EVA MARIA" userId="efa43ab3-f30d-49e0-8bcf-cbcf637d4549" providerId="ADAL" clId="{AC524F4A-C208-4D5E-910C-7C486E8EA4B5}" dt="2025-01-20T18:43:30.438" v="3718" actId="20577"/>
        <pc:sldMkLst>
          <pc:docMk/>
          <pc:sldMk cId="550098848" sldId="8152"/>
        </pc:sldMkLst>
        <pc:spChg chg="mod">
          <ac:chgData name="CACERES SANDOVAL, EVA MARIA" userId="efa43ab3-f30d-49e0-8bcf-cbcf637d4549" providerId="ADAL" clId="{AC524F4A-C208-4D5E-910C-7C486E8EA4B5}" dt="2025-01-20T17:31:22.816" v="2879" actId="1076"/>
          <ac:spMkLst>
            <pc:docMk/>
            <pc:sldMk cId="550098848" sldId="8152"/>
            <ac:spMk id="3" creationId="{995B6DA9-D9C6-F723-B2E8-A243CDB78B28}"/>
          </ac:spMkLst>
        </pc:spChg>
        <pc:spChg chg="del">
          <ac:chgData name="CACERES SANDOVAL, EVA MARIA" userId="efa43ab3-f30d-49e0-8bcf-cbcf637d4549" providerId="ADAL" clId="{AC524F4A-C208-4D5E-910C-7C486E8EA4B5}" dt="2025-01-20T17:32:50.256" v="2888" actId="478"/>
          <ac:spMkLst>
            <pc:docMk/>
            <pc:sldMk cId="550098848" sldId="8152"/>
            <ac:spMk id="4" creationId="{90DD10C6-74EA-3967-3CEA-E9412D859CF2}"/>
          </ac:spMkLst>
        </pc:spChg>
        <pc:spChg chg="mod">
          <ac:chgData name="CACERES SANDOVAL, EVA MARIA" userId="efa43ab3-f30d-49e0-8bcf-cbcf637d4549" providerId="ADAL" clId="{AC524F4A-C208-4D5E-910C-7C486E8EA4B5}" dt="2025-01-20T18:43:30.438" v="3718" actId="20577"/>
          <ac:spMkLst>
            <pc:docMk/>
            <pc:sldMk cId="550098848" sldId="8152"/>
            <ac:spMk id="9" creationId="{DA5F819D-89B6-B121-879F-E688F5CD9E25}"/>
          </ac:spMkLst>
        </pc:spChg>
        <pc:grpChg chg="mod">
          <ac:chgData name="CACERES SANDOVAL, EVA MARIA" userId="efa43ab3-f30d-49e0-8bcf-cbcf637d4549" providerId="ADAL" clId="{AC524F4A-C208-4D5E-910C-7C486E8EA4B5}" dt="2025-01-20T17:31:22.816" v="2879" actId="1076"/>
          <ac:grpSpMkLst>
            <pc:docMk/>
            <pc:sldMk cId="550098848" sldId="8152"/>
            <ac:grpSpMk id="13" creationId="{CD317E9B-CD27-2B49-5162-012E6C8B49F7}"/>
          </ac:grpSpMkLst>
        </pc:grpChg>
        <pc:picChg chg="add mod">
          <ac:chgData name="CACERES SANDOVAL, EVA MARIA" userId="efa43ab3-f30d-49e0-8bcf-cbcf637d4549" providerId="ADAL" clId="{AC524F4A-C208-4D5E-910C-7C486E8EA4B5}" dt="2025-01-20T17:32:45.902" v="2887" actId="1582"/>
          <ac:picMkLst>
            <pc:docMk/>
            <pc:sldMk cId="550098848" sldId="8152"/>
            <ac:picMk id="5" creationId="{661D71DB-2C99-4C8F-5BE7-0F1264F994AA}"/>
          </ac:picMkLst>
        </pc:picChg>
        <pc:picChg chg="mod">
          <ac:chgData name="CACERES SANDOVAL, EVA MARIA" userId="efa43ab3-f30d-49e0-8bcf-cbcf637d4549" providerId="ADAL" clId="{AC524F4A-C208-4D5E-910C-7C486E8EA4B5}" dt="2025-01-20T17:31:22.816" v="2879" actId="1076"/>
          <ac:picMkLst>
            <pc:docMk/>
            <pc:sldMk cId="550098848" sldId="8152"/>
            <ac:picMk id="1026" creationId="{600F055E-B3C1-A135-E9CF-ED727BCB9CE0}"/>
          </ac:picMkLst>
        </pc:picChg>
        <pc:cxnChg chg="mod">
          <ac:chgData name="CACERES SANDOVAL, EVA MARIA" userId="efa43ab3-f30d-49e0-8bcf-cbcf637d4549" providerId="ADAL" clId="{AC524F4A-C208-4D5E-910C-7C486E8EA4B5}" dt="2025-01-20T17:31:22.816" v="2879" actId="1076"/>
          <ac:cxnSpMkLst>
            <pc:docMk/>
            <pc:sldMk cId="550098848" sldId="8152"/>
            <ac:cxnSpMk id="7" creationId="{F8D7CA49-17F1-85EF-018F-054E12F5914B}"/>
          </ac:cxnSpMkLst>
        </pc:cxnChg>
      </pc:sldChg>
      <pc:sldChg chg="delSp mod">
        <pc:chgData name="CACERES SANDOVAL, EVA MARIA" userId="efa43ab3-f30d-49e0-8bcf-cbcf637d4549" providerId="ADAL" clId="{AC524F4A-C208-4D5E-910C-7C486E8EA4B5}" dt="2025-01-20T17:33:05.472" v="2892" actId="478"/>
        <pc:sldMkLst>
          <pc:docMk/>
          <pc:sldMk cId="4268641344" sldId="8153"/>
        </pc:sldMkLst>
        <pc:spChg chg="del">
          <ac:chgData name="CACERES SANDOVAL, EVA MARIA" userId="efa43ab3-f30d-49e0-8bcf-cbcf637d4549" providerId="ADAL" clId="{AC524F4A-C208-4D5E-910C-7C486E8EA4B5}" dt="2025-01-20T17:33:05.472" v="2892" actId="478"/>
          <ac:spMkLst>
            <pc:docMk/>
            <pc:sldMk cId="4268641344" sldId="8153"/>
            <ac:spMk id="4" creationId="{90DD10C6-74EA-3967-3CEA-E9412D859CF2}"/>
          </ac:spMkLst>
        </pc:spChg>
      </pc:sldChg>
      <pc:sldChg chg="new del">
        <pc:chgData name="CACERES SANDOVAL, EVA MARIA" userId="efa43ab3-f30d-49e0-8bcf-cbcf637d4549" providerId="ADAL" clId="{AC524F4A-C208-4D5E-910C-7C486E8EA4B5}" dt="2025-01-20T13:19:06.393" v="143" actId="47"/>
        <pc:sldMkLst>
          <pc:docMk/>
          <pc:sldMk cId="2699017360" sldId="8154"/>
        </pc:sldMkLst>
      </pc:sldChg>
      <pc:sldChg chg="addSp modSp new mod">
        <pc:chgData name="CACERES SANDOVAL, EVA MARIA" userId="efa43ab3-f30d-49e0-8bcf-cbcf637d4549" providerId="ADAL" clId="{AC524F4A-C208-4D5E-910C-7C486E8EA4B5}" dt="2025-01-20T18:31:27.001" v="3233" actId="208"/>
        <pc:sldMkLst>
          <pc:docMk/>
          <pc:sldMk cId="2775744722" sldId="8154"/>
        </pc:sldMkLst>
        <pc:spChg chg="mod">
          <ac:chgData name="CACERES SANDOVAL, EVA MARIA" userId="efa43ab3-f30d-49e0-8bcf-cbcf637d4549" providerId="ADAL" clId="{AC524F4A-C208-4D5E-910C-7C486E8EA4B5}" dt="2025-01-20T18:29:21.607" v="3225" actId="207"/>
          <ac:spMkLst>
            <pc:docMk/>
            <pc:sldMk cId="2775744722" sldId="8154"/>
            <ac:spMk id="2" creationId="{6EC1BF81-13E5-A3B7-DDB3-A7DEFBF6F67A}"/>
          </ac:spMkLst>
        </pc:spChg>
        <pc:spChg chg="mod">
          <ac:chgData name="CACERES SANDOVAL, EVA MARIA" userId="efa43ab3-f30d-49e0-8bcf-cbcf637d4549" providerId="ADAL" clId="{AC524F4A-C208-4D5E-910C-7C486E8EA4B5}" dt="2025-01-20T18:29:35.115" v="3228" actId="6549"/>
          <ac:spMkLst>
            <pc:docMk/>
            <pc:sldMk cId="2775744722" sldId="8154"/>
            <ac:spMk id="3" creationId="{1018DFF4-65D1-B828-8105-E7F110F91742}"/>
          </ac:spMkLst>
        </pc:spChg>
        <pc:spChg chg="add mod">
          <ac:chgData name="CACERES SANDOVAL, EVA MARIA" userId="efa43ab3-f30d-49e0-8bcf-cbcf637d4549" providerId="ADAL" clId="{AC524F4A-C208-4D5E-910C-7C486E8EA4B5}" dt="2025-01-20T18:28:50.320" v="3200" actId="20577"/>
          <ac:spMkLst>
            <pc:docMk/>
            <pc:sldMk cId="2775744722" sldId="8154"/>
            <ac:spMk id="4" creationId="{CFAC5E42-767D-EFD0-DDAB-A8853102B791}"/>
          </ac:spMkLst>
        </pc:spChg>
        <pc:picChg chg="add mod">
          <ac:chgData name="CACERES SANDOVAL, EVA MARIA" userId="efa43ab3-f30d-49e0-8bcf-cbcf637d4549" providerId="ADAL" clId="{AC524F4A-C208-4D5E-910C-7C486E8EA4B5}" dt="2025-01-20T18:31:27.001" v="3233" actId="208"/>
          <ac:picMkLst>
            <pc:docMk/>
            <pc:sldMk cId="2775744722" sldId="8154"/>
            <ac:picMk id="6" creationId="{AEFFD62D-3AC5-9829-0CC1-5BF9091BF9FC}"/>
          </ac:picMkLst>
        </pc:picChg>
      </pc:sldChg>
    </pc:docChg>
  </pc:docChgLst>
  <pc:docChgLst>
    <pc:chgData name="CACERES SANDOVAL, EVA MARIA" userId="efa43ab3-f30d-49e0-8bcf-cbcf637d4549" providerId="ADAL" clId="{C6DC3022-C868-473E-8607-1E4341DC0F28}"/>
    <pc:docChg chg="undo custSel addSld delSld modSld sldOrd">
      <pc:chgData name="CACERES SANDOVAL, EVA MARIA" userId="efa43ab3-f30d-49e0-8bcf-cbcf637d4549" providerId="ADAL" clId="{C6DC3022-C868-473E-8607-1E4341DC0F28}" dt="2024-05-27T13:42:35.219" v="3485" actId="20577"/>
      <pc:docMkLst>
        <pc:docMk/>
      </pc:docMkLst>
      <pc:sldChg chg="del">
        <pc:chgData name="CACERES SANDOVAL, EVA MARIA" userId="efa43ab3-f30d-49e0-8bcf-cbcf637d4549" providerId="ADAL" clId="{C6DC3022-C868-473E-8607-1E4341DC0F28}" dt="2024-05-21T15:30:16.309" v="0" actId="47"/>
        <pc:sldMkLst>
          <pc:docMk/>
          <pc:sldMk cId="3552216212" sldId="256"/>
        </pc:sldMkLst>
      </pc:sldChg>
      <pc:sldChg chg="modSp mod">
        <pc:chgData name="CACERES SANDOVAL, EVA MARIA" userId="efa43ab3-f30d-49e0-8bcf-cbcf637d4549" providerId="ADAL" clId="{C6DC3022-C868-473E-8607-1E4341DC0F28}" dt="2024-05-21T18:11:54.417" v="2521" actId="2711"/>
        <pc:sldMkLst>
          <pc:docMk/>
          <pc:sldMk cId="2739722213" sldId="257"/>
        </pc:sldMkLst>
        <pc:spChg chg="mod">
          <ac:chgData name="CACERES SANDOVAL, EVA MARIA" userId="efa43ab3-f30d-49e0-8bcf-cbcf637d4549" providerId="ADAL" clId="{C6DC3022-C868-473E-8607-1E4341DC0F28}" dt="2024-05-21T18:11:54.417" v="2521" actId="2711"/>
          <ac:spMkLst>
            <pc:docMk/>
            <pc:sldMk cId="2739722213" sldId="257"/>
            <ac:spMk id="2" creationId="{86E42F24-2B50-450C-B8D4-569FA409148F}"/>
          </ac:spMkLst>
        </pc:spChg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0" sldId="258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943600876" sldId="270"/>
        </pc:sldMkLst>
      </pc:sldChg>
      <pc:sldChg chg="addSp delSp modSp add mod">
        <pc:chgData name="CACERES SANDOVAL, EVA MARIA" userId="efa43ab3-f30d-49e0-8bcf-cbcf637d4549" providerId="ADAL" clId="{C6DC3022-C868-473E-8607-1E4341DC0F28}" dt="2024-05-22T19:05:50.750" v="2604" actId="1076"/>
        <pc:sldMkLst>
          <pc:docMk/>
          <pc:sldMk cId="3697566562" sldId="278"/>
        </pc:sldMkLst>
        <pc:spChg chg="mod">
          <ac:chgData name="CACERES SANDOVAL, EVA MARIA" userId="efa43ab3-f30d-49e0-8bcf-cbcf637d4549" providerId="ADAL" clId="{C6DC3022-C868-473E-8607-1E4341DC0F28}" dt="2024-05-22T19:05:50.750" v="2604" actId="1076"/>
          <ac:spMkLst>
            <pc:docMk/>
            <pc:sldMk cId="3697566562" sldId="278"/>
            <ac:spMk id="3" creationId="{A74000BB-01C3-44BA-816C-04CA7BEBCF72}"/>
          </ac:spMkLst>
        </pc:spChg>
        <pc:spChg chg="add mod">
          <ac:chgData name="CACERES SANDOVAL, EVA MARIA" userId="efa43ab3-f30d-49e0-8bcf-cbcf637d4549" providerId="ADAL" clId="{C6DC3022-C868-473E-8607-1E4341DC0F28}" dt="2024-05-21T15:32:11.621" v="75" actId="1076"/>
          <ac:spMkLst>
            <pc:docMk/>
            <pc:sldMk cId="3697566562" sldId="278"/>
            <ac:spMk id="6" creationId="{6C1E2C2E-24E6-2DB4-39F5-CB11C3842301}"/>
          </ac:spMkLst>
        </pc:spChg>
        <pc:spChg chg="add mod">
          <ac:chgData name="CACERES SANDOVAL, EVA MARIA" userId="efa43ab3-f30d-49e0-8bcf-cbcf637d4549" providerId="ADAL" clId="{C6DC3022-C868-473E-8607-1E4341DC0F28}" dt="2024-05-21T15:32:09.851" v="74" actId="1076"/>
          <ac:spMkLst>
            <pc:docMk/>
            <pc:sldMk cId="3697566562" sldId="278"/>
            <ac:spMk id="8" creationId="{0C15AD5F-2605-F10F-A40A-B2DCE140072D}"/>
          </ac:spMkLst>
        </pc:spChg>
        <pc:spChg chg="mod">
          <ac:chgData name="CACERES SANDOVAL, EVA MARIA" userId="efa43ab3-f30d-49e0-8bcf-cbcf637d4549" providerId="ADAL" clId="{C6DC3022-C868-473E-8607-1E4341DC0F28}" dt="2024-05-21T18:09:31.366" v="2376" actId="2711"/>
          <ac:spMkLst>
            <pc:docMk/>
            <pc:sldMk cId="3697566562" sldId="278"/>
            <ac:spMk id="9" creationId="{2CCD0179-02F2-8188-2F3C-5EC85CFAEB28}"/>
          </ac:spMkLst>
        </pc:spChg>
        <pc:spChg chg="add del mod">
          <ac:chgData name="CACERES SANDOVAL, EVA MARIA" userId="efa43ab3-f30d-49e0-8bcf-cbcf637d4549" providerId="ADAL" clId="{C6DC3022-C868-473E-8607-1E4341DC0F28}" dt="2024-05-21T15:31:59.545" v="69" actId="1076"/>
          <ac:spMkLst>
            <pc:docMk/>
            <pc:sldMk cId="3697566562" sldId="278"/>
            <ac:spMk id="11" creationId="{DB2AFE03-F3DA-ED5E-0F58-FB1B85F2393B}"/>
          </ac:spMkLst>
        </pc:spChg>
        <pc:spChg chg="add del mod">
          <ac:chgData name="CACERES SANDOVAL, EVA MARIA" userId="efa43ab3-f30d-49e0-8bcf-cbcf637d4549" providerId="ADAL" clId="{C6DC3022-C868-473E-8607-1E4341DC0F28}" dt="2024-05-21T15:32:02.608" v="70" actId="1076"/>
          <ac:spMkLst>
            <pc:docMk/>
            <pc:sldMk cId="3697566562" sldId="278"/>
            <ac:spMk id="12" creationId="{2A5F4AE4-3F90-D5B0-F07F-FF52C44102BB}"/>
          </ac:spMkLst>
        </pc:spChg>
        <pc:spChg chg="mod">
          <ac:chgData name="CACERES SANDOVAL, EVA MARIA" userId="efa43ab3-f30d-49e0-8bcf-cbcf637d4549" providerId="ADAL" clId="{C6DC3022-C868-473E-8607-1E4341DC0F28}" dt="2024-05-21T15:32:04.387" v="71" actId="1076"/>
          <ac:spMkLst>
            <pc:docMk/>
            <pc:sldMk cId="3697566562" sldId="278"/>
            <ac:spMk id="13" creationId="{C8A49855-0EE7-D7DF-868F-8404FC0A1B83}"/>
          </ac:spMkLst>
        </pc:spChg>
        <pc:picChg chg="add mod ord modCrop">
          <ac:chgData name="CACERES SANDOVAL, EVA MARIA" userId="efa43ab3-f30d-49e0-8bcf-cbcf637d4549" providerId="ADAL" clId="{C6DC3022-C868-473E-8607-1E4341DC0F28}" dt="2024-05-21T15:32:38.046" v="100" actId="732"/>
          <ac:picMkLst>
            <pc:docMk/>
            <pc:sldMk cId="3697566562" sldId="278"/>
            <ac:picMk id="5" creationId="{93C84370-A5B6-27F6-2289-75A9510A33EE}"/>
          </ac:picMkLst>
        </pc:picChg>
        <pc:picChg chg="del">
          <ac:chgData name="CACERES SANDOVAL, EVA MARIA" userId="efa43ab3-f30d-49e0-8bcf-cbcf637d4549" providerId="ADAL" clId="{C6DC3022-C868-473E-8607-1E4341DC0F28}" dt="2024-05-21T15:31:12.383" v="62" actId="478"/>
          <ac:picMkLst>
            <pc:docMk/>
            <pc:sldMk cId="3697566562" sldId="278"/>
            <ac:picMk id="7" creationId="{453E40E1-4043-0F8A-C710-6FB0CBAB08AF}"/>
          </ac:picMkLst>
        </pc:picChg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286704298" sldId="285"/>
        </pc:sldMkLst>
      </pc:sldChg>
      <pc:sldChg chg="modSp mod">
        <pc:chgData name="CACERES SANDOVAL, EVA MARIA" userId="efa43ab3-f30d-49e0-8bcf-cbcf637d4549" providerId="ADAL" clId="{C6DC3022-C868-473E-8607-1E4341DC0F28}" dt="2024-05-21T18:09:24.044" v="2375" actId="2711"/>
        <pc:sldMkLst>
          <pc:docMk/>
          <pc:sldMk cId="1911634418" sldId="294"/>
        </pc:sldMkLst>
        <pc:spChg chg="mod">
          <ac:chgData name="CACERES SANDOVAL, EVA MARIA" userId="efa43ab3-f30d-49e0-8bcf-cbcf637d4549" providerId="ADAL" clId="{C6DC3022-C868-473E-8607-1E4341DC0F28}" dt="2024-05-21T18:09:06.883" v="2357" actId="14100"/>
          <ac:spMkLst>
            <pc:docMk/>
            <pc:sldMk cId="1911634418" sldId="294"/>
            <ac:spMk id="2" creationId="{9E35DCEA-11FB-375E-BA08-3B2B59711278}"/>
          </ac:spMkLst>
        </pc:spChg>
        <pc:spChg chg="mod">
          <ac:chgData name="CACERES SANDOVAL, EVA MARIA" userId="efa43ab3-f30d-49e0-8bcf-cbcf637d4549" providerId="ADAL" clId="{C6DC3022-C868-473E-8607-1E4341DC0F28}" dt="2024-05-21T18:09:24.044" v="2375" actId="2711"/>
          <ac:spMkLst>
            <pc:docMk/>
            <pc:sldMk cId="1911634418" sldId="294"/>
            <ac:spMk id="4" creationId="{19A7A5CC-C7F1-1A88-CF54-31D5B8150FAD}"/>
          </ac:spMkLst>
        </pc:spChg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080095354" sldId="321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173559739" sldId="322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06896717" sldId="323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974186335" sldId="337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931910032" sldId="338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391939069" sldId="342"/>
        </pc:sldMkLst>
      </pc:sldChg>
      <pc:sldChg chg="addSp delSp modSp add mod">
        <pc:chgData name="CACERES SANDOVAL, EVA MARIA" userId="efa43ab3-f30d-49e0-8bcf-cbcf637d4549" providerId="ADAL" clId="{C6DC3022-C868-473E-8607-1E4341DC0F28}" dt="2024-05-24T16:02:24.389" v="2924"/>
        <pc:sldMkLst>
          <pc:docMk/>
          <pc:sldMk cId="302266982" sldId="928"/>
        </pc:sldMkLst>
        <pc:spChg chg="mod">
          <ac:chgData name="CACERES SANDOVAL, EVA MARIA" userId="efa43ab3-f30d-49e0-8bcf-cbcf637d4549" providerId="ADAL" clId="{C6DC3022-C868-473E-8607-1E4341DC0F28}" dt="2024-05-22T19:06:38.810" v="2611" actId="2711"/>
          <ac:spMkLst>
            <pc:docMk/>
            <pc:sldMk cId="302266982" sldId="928"/>
            <ac:spMk id="2" creationId="{D911260F-ED60-62A5-2257-68DDA3BCA723}"/>
          </ac:spMkLst>
        </pc:spChg>
        <pc:spChg chg="add del mod">
          <ac:chgData name="CACERES SANDOVAL, EVA MARIA" userId="efa43ab3-f30d-49e0-8bcf-cbcf637d4549" providerId="ADAL" clId="{C6DC3022-C868-473E-8607-1E4341DC0F28}" dt="2024-05-23T16:46:15.744" v="2617" actId="478"/>
          <ac:spMkLst>
            <pc:docMk/>
            <pc:sldMk cId="302266982" sldId="928"/>
            <ac:spMk id="5" creationId="{2F5244C1-74AE-BB19-F1F0-1B4A9E19752A}"/>
          </ac:spMkLst>
        </pc:spChg>
        <pc:spChg chg="mod">
          <ac:chgData name="CACERES SANDOVAL, EVA MARIA" userId="efa43ab3-f30d-49e0-8bcf-cbcf637d4549" providerId="ADAL" clId="{C6DC3022-C868-473E-8607-1E4341DC0F28}" dt="2024-05-24T16:02:24.389" v="2924"/>
          <ac:spMkLst>
            <pc:docMk/>
            <pc:sldMk cId="302266982" sldId="928"/>
            <ac:spMk id="9" creationId="{880F1251-9487-A28F-21FD-85A1D2A31ACD}"/>
          </ac:spMkLst>
        </pc:spChg>
        <pc:picChg chg="del">
          <ac:chgData name="CACERES SANDOVAL, EVA MARIA" userId="efa43ab3-f30d-49e0-8bcf-cbcf637d4549" providerId="ADAL" clId="{C6DC3022-C868-473E-8607-1E4341DC0F28}" dt="2024-05-23T16:48:05.389" v="2618" actId="478"/>
          <ac:picMkLst>
            <pc:docMk/>
            <pc:sldMk cId="302266982" sldId="928"/>
            <ac:picMk id="6" creationId="{EFBAC2ED-B8E9-B37F-142E-730D22D7EEA2}"/>
          </ac:picMkLst>
        </pc:picChg>
        <pc:picChg chg="del">
          <ac:chgData name="CACERES SANDOVAL, EVA MARIA" userId="efa43ab3-f30d-49e0-8bcf-cbcf637d4549" providerId="ADAL" clId="{C6DC3022-C868-473E-8607-1E4341DC0F28}" dt="2024-05-23T16:46:12.422" v="2616" actId="478"/>
          <ac:picMkLst>
            <pc:docMk/>
            <pc:sldMk cId="302266982" sldId="928"/>
            <ac:picMk id="8" creationId="{EC7BF5AE-FC3F-971D-A760-78520B11CB65}"/>
          </ac:picMkLst>
        </pc:picChg>
        <pc:picChg chg="add mod">
          <ac:chgData name="CACERES SANDOVAL, EVA MARIA" userId="efa43ab3-f30d-49e0-8bcf-cbcf637d4549" providerId="ADAL" clId="{C6DC3022-C868-473E-8607-1E4341DC0F28}" dt="2024-05-23T16:48:22.325" v="2625" actId="1076"/>
          <ac:picMkLst>
            <pc:docMk/>
            <pc:sldMk cId="302266982" sldId="928"/>
            <ac:picMk id="10" creationId="{109DD856-49C9-6B93-3B66-37813DE774E0}"/>
          </ac:picMkLst>
        </pc:picChg>
      </pc:sldChg>
      <pc:sldChg chg="addSp delSp modSp add mod">
        <pc:chgData name="CACERES SANDOVAL, EVA MARIA" userId="efa43ab3-f30d-49e0-8bcf-cbcf637d4549" providerId="ADAL" clId="{C6DC3022-C868-473E-8607-1E4341DC0F28}" dt="2024-05-27T13:33:55.498" v="3042" actId="1076"/>
        <pc:sldMkLst>
          <pc:docMk/>
          <pc:sldMk cId="431565556" sldId="931"/>
        </pc:sldMkLst>
        <pc:spChg chg="mod">
          <ac:chgData name="CACERES SANDOVAL, EVA MARIA" userId="efa43ab3-f30d-49e0-8bcf-cbcf637d4549" providerId="ADAL" clId="{C6DC3022-C868-473E-8607-1E4341DC0F28}" dt="2024-05-21T18:12:20.321" v="2526" actId="2711"/>
          <ac:spMkLst>
            <pc:docMk/>
            <pc:sldMk cId="431565556" sldId="931"/>
            <ac:spMk id="2" creationId="{D911260F-ED60-62A5-2257-68DDA3BCA723}"/>
          </ac:spMkLst>
        </pc:spChg>
        <pc:spChg chg="add del mod">
          <ac:chgData name="CACERES SANDOVAL, EVA MARIA" userId="efa43ab3-f30d-49e0-8bcf-cbcf637d4549" providerId="ADAL" clId="{C6DC3022-C868-473E-8607-1E4341DC0F28}" dt="2024-05-27T13:33:52.319" v="3040" actId="478"/>
          <ac:spMkLst>
            <pc:docMk/>
            <pc:sldMk cId="431565556" sldId="931"/>
            <ac:spMk id="3" creationId="{6C92EECB-5F7C-A4ED-2230-B3801B9DC324}"/>
          </ac:spMkLst>
        </pc:spChg>
        <pc:spChg chg="mod">
          <ac:chgData name="CACERES SANDOVAL, EVA MARIA" userId="efa43ab3-f30d-49e0-8bcf-cbcf637d4549" providerId="ADAL" clId="{C6DC3022-C868-473E-8607-1E4341DC0F28}" dt="2024-05-27T13:33:55.498" v="3042" actId="1076"/>
          <ac:spMkLst>
            <pc:docMk/>
            <pc:sldMk cId="431565556" sldId="931"/>
            <ac:spMk id="17" creationId="{2F1D8672-4D91-CDB6-8FFF-8DDBD730B453}"/>
          </ac:spMkLst>
        </pc:spChg>
        <pc:picChg chg="add mod">
          <ac:chgData name="CACERES SANDOVAL, EVA MARIA" userId="efa43ab3-f30d-49e0-8bcf-cbcf637d4549" providerId="ADAL" clId="{C6DC3022-C868-473E-8607-1E4341DC0F28}" dt="2024-05-21T16:34:55.402" v="414" actId="208"/>
          <ac:picMkLst>
            <pc:docMk/>
            <pc:sldMk cId="431565556" sldId="931"/>
            <ac:picMk id="5" creationId="{353E1655-042C-6893-4B00-4C745212DD70}"/>
          </ac:picMkLst>
        </pc:picChg>
        <pc:picChg chg="mod">
          <ac:chgData name="CACERES SANDOVAL, EVA MARIA" userId="efa43ab3-f30d-49e0-8bcf-cbcf637d4549" providerId="ADAL" clId="{C6DC3022-C868-473E-8607-1E4341DC0F28}" dt="2024-05-27T13:33:53.878" v="3041" actId="1076"/>
          <ac:picMkLst>
            <pc:docMk/>
            <pc:sldMk cId="431565556" sldId="931"/>
            <ac:picMk id="11" creationId="{C4ED754C-E6A1-13E7-5DF6-79F90B0FB746}"/>
          </ac:picMkLst>
        </pc:picChg>
        <pc:picChg chg="del">
          <ac:chgData name="CACERES SANDOVAL, EVA MARIA" userId="efa43ab3-f30d-49e0-8bcf-cbcf637d4549" providerId="ADAL" clId="{C6DC3022-C868-473E-8607-1E4341DC0F28}" dt="2024-05-21T16:33:28.873" v="409" actId="478"/>
          <ac:picMkLst>
            <pc:docMk/>
            <pc:sldMk cId="431565556" sldId="931"/>
            <ac:picMk id="13" creationId="{C82CC878-8D15-76B1-E771-DDD2C563E29D}"/>
          </ac:picMkLst>
        </pc:picChg>
        <pc:picChg chg="add del">
          <ac:chgData name="CACERES SANDOVAL, EVA MARIA" userId="efa43ab3-f30d-49e0-8bcf-cbcf637d4549" providerId="ADAL" clId="{C6DC3022-C868-473E-8607-1E4341DC0F28}" dt="2024-05-27T13:33:50.193" v="3039" actId="478"/>
          <ac:picMkLst>
            <pc:docMk/>
            <pc:sldMk cId="431565556" sldId="931"/>
            <ac:picMk id="1026" creationId="{453CE0D0-8DF5-B187-3D34-C1B2B029A8DA}"/>
          </ac:picMkLst>
        </pc:picChg>
      </pc:sldChg>
      <pc:sldChg chg="addSp delSp modSp add mod">
        <pc:chgData name="CACERES SANDOVAL, EVA MARIA" userId="efa43ab3-f30d-49e0-8bcf-cbcf637d4549" providerId="ADAL" clId="{C6DC3022-C868-473E-8607-1E4341DC0F28}" dt="2024-05-24T15:16:14.087" v="2815" actId="207"/>
        <pc:sldMkLst>
          <pc:docMk/>
          <pc:sldMk cId="4060697977" sldId="933"/>
        </pc:sldMkLst>
        <pc:spChg chg="mod">
          <ac:chgData name="CACERES SANDOVAL, EVA MARIA" userId="efa43ab3-f30d-49e0-8bcf-cbcf637d4549" providerId="ADAL" clId="{C6DC3022-C868-473E-8607-1E4341DC0F28}" dt="2024-05-21T18:12:14.767" v="2525" actId="2711"/>
          <ac:spMkLst>
            <pc:docMk/>
            <pc:sldMk cId="4060697977" sldId="933"/>
            <ac:spMk id="2" creationId="{D911260F-ED60-62A5-2257-68DDA3BCA723}"/>
          </ac:spMkLst>
        </pc:spChg>
        <pc:spChg chg="add mod">
          <ac:chgData name="CACERES SANDOVAL, EVA MARIA" userId="efa43ab3-f30d-49e0-8bcf-cbcf637d4549" providerId="ADAL" clId="{C6DC3022-C868-473E-8607-1E4341DC0F28}" dt="2024-05-24T15:13:29.228" v="2720" actId="14100"/>
          <ac:spMkLst>
            <pc:docMk/>
            <pc:sldMk cId="4060697977" sldId="933"/>
            <ac:spMk id="3" creationId="{FEC5C94A-CE45-3902-5D0A-00D463F755F0}"/>
          </ac:spMkLst>
        </pc:spChg>
        <pc:spChg chg="mod">
          <ac:chgData name="CACERES SANDOVAL, EVA MARIA" userId="efa43ab3-f30d-49e0-8bcf-cbcf637d4549" providerId="ADAL" clId="{C6DC3022-C868-473E-8607-1E4341DC0F28}" dt="2024-05-24T15:11:14.538" v="2703" actId="1076"/>
          <ac:spMkLst>
            <pc:docMk/>
            <pc:sldMk cId="4060697977" sldId="933"/>
            <ac:spMk id="5" creationId="{8424E0A0-0331-BAB1-177C-2EEF0B6BF013}"/>
          </ac:spMkLst>
        </pc:spChg>
        <pc:spChg chg="add mod">
          <ac:chgData name="CACERES SANDOVAL, EVA MARIA" userId="efa43ab3-f30d-49e0-8bcf-cbcf637d4549" providerId="ADAL" clId="{C6DC3022-C868-473E-8607-1E4341DC0F28}" dt="2024-05-24T15:14:36.232" v="2793" actId="14100"/>
          <ac:spMkLst>
            <pc:docMk/>
            <pc:sldMk cId="4060697977" sldId="933"/>
            <ac:spMk id="6" creationId="{8463D495-BB22-9061-C3CA-43FEF0B56080}"/>
          </ac:spMkLst>
        </pc:spChg>
        <pc:spChg chg="mod topLvl">
          <ac:chgData name="CACERES SANDOVAL, EVA MARIA" userId="efa43ab3-f30d-49e0-8bcf-cbcf637d4549" providerId="ADAL" clId="{C6DC3022-C868-473E-8607-1E4341DC0F28}" dt="2024-05-24T15:12:36.116" v="2710" actId="478"/>
          <ac:spMkLst>
            <pc:docMk/>
            <pc:sldMk cId="4060697977" sldId="933"/>
            <ac:spMk id="9" creationId="{7BDD199F-AECD-71A1-BE42-943932485A79}"/>
          </ac:spMkLst>
        </pc:spChg>
        <pc:spChg chg="add mod">
          <ac:chgData name="CACERES SANDOVAL, EVA MARIA" userId="efa43ab3-f30d-49e0-8bcf-cbcf637d4549" providerId="ADAL" clId="{C6DC3022-C868-473E-8607-1E4341DC0F28}" dt="2024-05-24T15:16:14.087" v="2815" actId="207"/>
          <ac:spMkLst>
            <pc:docMk/>
            <pc:sldMk cId="4060697977" sldId="933"/>
            <ac:spMk id="14" creationId="{297583D6-54C3-8800-C428-69980500D21E}"/>
          </ac:spMkLst>
        </pc:spChg>
        <pc:grpChg chg="del mod">
          <ac:chgData name="CACERES SANDOVAL, EVA MARIA" userId="efa43ab3-f30d-49e0-8bcf-cbcf637d4549" providerId="ADAL" clId="{C6DC3022-C868-473E-8607-1E4341DC0F28}" dt="2024-05-24T15:12:36.116" v="2710" actId="478"/>
          <ac:grpSpMkLst>
            <pc:docMk/>
            <pc:sldMk cId="4060697977" sldId="933"/>
            <ac:grpSpMk id="13" creationId="{89CE1279-4EE6-248C-CA33-5FD6D40B9785}"/>
          </ac:grpSpMkLst>
        </pc:grpChg>
        <pc:picChg chg="del">
          <ac:chgData name="CACERES SANDOVAL, EVA MARIA" userId="efa43ab3-f30d-49e0-8bcf-cbcf637d4549" providerId="ADAL" clId="{C6DC3022-C868-473E-8607-1E4341DC0F28}" dt="2024-05-21T17:46:42.688" v="1731" actId="478"/>
          <ac:picMkLst>
            <pc:docMk/>
            <pc:sldMk cId="4060697977" sldId="933"/>
            <ac:picMk id="7" creationId="{ED25980A-2382-D141-545D-D3F5EDDAC42F}"/>
          </ac:picMkLst>
        </pc:picChg>
        <pc:picChg chg="add mod ord">
          <ac:chgData name="CACERES SANDOVAL, EVA MARIA" userId="efa43ab3-f30d-49e0-8bcf-cbcf637d4549" providerId="ADAL" clId="{C6DC3022-C868-473E-8607-1E4341DC0F28}" dt="2024-05-24T15:13:22.422" v="2717" actId="1076"/>
          <ac:picMkLst>
            <pc:docMk/>
            <pc:sldMk cId="4060697977" sldId="933"/>
            <ac:picMk id="8" creationId="{807EB9DC-BA5A-C312-957F-8D5B833CBF1E}"/>
          </ac:picMkLst>
        </pc:picChg>
        <pc:picChg chg="del mod topLvl">
          <ac:chgData name="CACERES SANDOVAL, EVA MARIA" userId="efa43ab3-f30d-49e0-8bcf-cbcf637d4549" providerId="ADAL" clId="{C6DC3022-C868-473E-8607-1E4341DC0F28}" dt="2024-05-24T15:12:36.116" v="2710" actId="478"/>
          <ac:picMkLst>
            <pc:docMk/>
            <pc:sldMk cId="4060697977" sldId="933"/>
            <ac:picMk id="11" creationId="{5506D587-7970-46BD-6C52-A7E53DF00C6A}"/>
          </ac:picMkLst>
        </pc:picChg>
        <pc:cxnChg chg="add mod">
          <ac:chgData name="CACERES SANDOVAL, EVA MARIA" userId="efa43ab3-f30d-49e0-8bcf-cbcf637d4549" providerId="ADAL" clId="{C6DC3022-C868-473E-8607-1E4341DC0F28}" dt="2024-05-24T15:14:36.232" v="2793" actId="14100"/>
          <ac:cxnSpMkLst>
            <pc:docMk/>
            <pc:sldMk cId="4060697977" sldId="933"/>
            <ac:cxnSpMk id="12" creationId="{CC68D22E-7E1F-18BA-C93C-E79C91A0F7B4}"/>
          </ac:cxnSpMkLst>
        </pc:cxnChg>
      </pc:sldChg>
      <pc:sldChg chg="addSp delSp modSp add mod">
        <pc:chgData name="CACERES SANDOVAL, EVA MARIA" userId="efa43ab3-f30d-49e0-8bcf-cbcf637d4549" providerId="ADAL" clId="{C6DC3022-C868-473E-8607-1E4341DC0F28}" dt="2024-05-24T15:16:22.285" v="2816" actId="207"/>
        <pc:sldMkLst>
          <pc:docMk/>
          <pc:sldMk cId="1416081266" sldId="934"/>
        </pc:sldMkLst>
        <pc:spChg chg="mod">
          <ac:chgData name="CACERES SANDOVAL, EVA MARIA" userId="efa43ab3-f30d-49e0-8bcf-cbcf637d4549" providerId="ADAL" clId="{C6DC3022-C868-473E-8607-1E4341DC0F28}" dt="2024-05-21T18:12:10.326" v="2524" actId="2711"/>
          <ac:spMkLst>
            <pc:docMk/>
            <pc:sldMk cId="1416081266" sldId="934"/>
            <ac:spMk id="2" creationId="{D911260F-ED60-62A5-2257-68DDA3BCA723}"/>
          </ac:spMkLst>
        </pc:spChg>
        <pc:spChg chg="add mod">
          <ac:chgData name="CACERES SANDOVAL, EVA MARIA" userId="efa43ab3-f30d-49e0-8bcf-cbcf637d4549" providerId="ADAL" clId="{C6DC3022-C868-473E-8607-1E4341DC0F28}" dt="2024-05-24T15:15:19.198" v="2802" actId="14100"/>
          <ac:spMkLst>
            <pc:docMk/>
            <pc:sldMk cId="1416081266" sldId="934"/>
            <ac:spMk id="3" creationId="{136F470C-9846-D015-C953-0D52C4A6A711}"/>
          </ac:spMkLst>
        </pc:spChg>
        <pc:spChg chg="mod">
          <ac:chgData name="CACERES SANDOVAL, EVA MARIA" userId="efa43ab3-f30d-49e0-8bcf-cbcf637d4549" providerId="ADAL" clId="{C6DC3022-C868-473E-8607-1E4341DC0F28}" dt="2024-05-21T17:53:22.050" v="1909" actId="1076"/>
          <ac:spMkLst>
            <pc:docMk/>
            <pc:sldMk cId="1416081266" sldId="934"/>
            <ac:spMk id="5" creationId="{5E2E82B8-C63C-BB48-A980-34E28CA9C646}"/>
          </ac:spMkLst>
        </pc:spChg>
        <pc:spChg chg="add mod">
          <ac:chgData name="CACERES SANDOVAL, EVA MARIA" userId="efa43ab3-f30d-49e0-8bcf-cbcf637d4549" providerId="ADAL" clId="{C6DC3022-C868-473E-8607-1E4341DC0F28}" dt="2024-05-24T15:16:22.285" v="2816" actId="207"/>
          <ac:spMkLst>
            <pc:docMk/>
            <pc:sldMk cId="1416081266" sldId="934"/>
            <ac:spMk id="7" creationId="{0796CAED-D8FF-AFF7-1F16-15491211F431}"/>
          </ac:spMkLst>
        </pc:spChg>
        <pc:spChg chg="mod">
          <ac:chgData name="CACERES SANDOVAL, EVA MARIA" userId="efa43ab3-f30d-49e0-8bcf-cbcf637d4549" providerId="ADAL" clId="{C6DC3022-C868-473E-8607-1E4341DC0F28}" dt="2024-05-22T19:06:23.620" v="2609" actId="2711"/>
          <ac:spMkLst>
            <pc:docMk/>
            <pc:sldMk cId="1416081266" sldId="934"/>
            <ac:spMk id="9" creationId="{7BDD199F-AECD-71A1-BE42-943932485A79}"/>
          </ac:spMkLst>
        </pc:spChg>
        <pc:spChg chg="add mod">
          <ac:chgData name="CACERES SANDOVAL, EVA MARIA" userId="efa43ab3-f30d-49e0-8bcf-cbcf637d4549" providerId="ADAL" clId="{C6DC3022-C868-473E-8607-1E4341DC0F28}" dt="2024-05-24T15:15:21.631" v="2803" actId="1076"/>
          <ac:spMkLst>
            <pc:docMk/>
            <pc:sldMk cId="1416081266" sldId="934"/>
            <ac:spMk id="16" creationId="{1B40606F-C83E-E58A-ABDD-FD045D73F0F9}"/>
          </ac:spMkLst>
        </pc:spChg>
        <pc:picChg chg="del">
          <ac:chgData name="CACERES SANDOVAL, EVA MARIA" userId="efa43ab3-f30d-49e0-8bcf-cbcf637d4549" providerId="ADAL" clId="{C6DC3022-C868-473E-8607-1E4341DC0F28}" dt="2024-05-21T16:38:52.277" v="422" actId="478"/>
          <ac:picMkLst>
            <pc:docMk/>
            <pc:sldMk cId="1416081266" sldId="934"/>
            <ac:picMk id="6" creationId="{63E9E909-5CBF-6CA8-CA03-347BC22B61A2}"/>
          </ac:picMkLst>
        </pc:picChg>
        <pc:picChg chg="add del mod">
          <ac:chgData name="CACERES SANDOVAL, EVA MARIA" userId="efa43ab3-f30d-49e0-8bcf-cbcf637d4549" providerId="ADAL" clId="{C6DC3022-C868-473E-8607-1E4341DC0F28}" dt="2024-05-21T16:39:45.732" v="428" actId="478"/>
          <ac:picMkLst>
            <pc:docMk/>
            <pc:sldMk cId="1416081266" sldId="934"/>
            <ac:picMk id="7" creationId="{8B1D1D73-9FE8-EDB3-EBFC-771731BC6385}"/>
          </ac:picMkLst>
        </pc:picChg>
        <pc:picChg chg="add mod">
          <ac:chgData name="CACERES SANDOVAL, EVA MARIA" userId="efa43ab3-f30d-49e0-8bcf-cbcf637d4549" providerId="ADAL" clId="{C6DC3022-C868-473E-8607-1E4341DC0F28}" dt="2024-05-21T16:41:41.453" v="459" actId="208"/>
          <ac:picMkLst>
            <pc:docMk/>
            <pc:sldMk cId="1416081266" sldId="934"/>
            <ac:picMk id="10" creationId="{D380B69D-F424-D2C8-CD7B-8366CCC85489}"/>
          </ac:picMkLst>
        </pc:picChg>
        <pc:cxnChg chg="add del mod">
          <ac:chgData name="CACERES SANDOVAL, EVA MARIA" userId="efa43ab3-f30d-49e0-8bcf-cbcf637d4549" providerId="ADAL" clId="{C6DC3022-C868-473E-8607-1E4341DC0F28}" dt="2024-05-24T15:15:45.813" v="2808" actId="478"/>
          <ac:cxnSpMkLst>
            <pc:docMk/>
            <pc:sldMk cId="1416081266" sldId="934"/>
            <ac:cxnSpMk id="6" creationId="{34510A14-545A-7510-F6D7-5294E1698152}"/>
          </ac:cxnSpMkLst>
        </pc:cxnChg>
        <pc:cxnChg chg="add mod">
          <ac:chgData name="CACERES SANDOVAL, EVA MARIA" userId="efa43ab3-f30d-49e0-8bcf-cbcf637d4549" providerId="ADAL" clId="{C6DC3022-C868-473E-8607-1E4341DC0F28}" dt="2024-05-24T15:15:55.272" v="2810" actId="1076"/>
          <ac:cxnSpMkLst>
            <pc:docMk/>
            <pc:sldMk cId="1416081266" sldId="934"/>
            <ac:cxnSpMk id="11" creationId="{7CF4C99C-15BC-4C50-0512-DAE234345F38}"/>
          </ac:cxnSpMkLst>
        </pc:cxnChg>
        <pc:cxnChg chg="add del mod">
          <ac:chgData name="CACERES SANDOVAL, EVA MARIA" userId="efa43ab3-f30d-49e0-8bcf-cbcf637d4549" providerId="ADAL" clId="{C6DC3022-C868-473E-8607-1E4341DC0F28}" dt="2024-05-24T15:15:11.873" v="2799" actId="478"/>
          <ac:cxnSpMkLst>
            <pc:docMk/>
            <pc:sldMk cId="1416081266" sldId="934"/>
            <ac:cxnSpMk id="12" creationId="{564B0026-1713-7A48-4031-7F6D963E2A9E}"/>
          </ac:cxnSpMkLst>
        </pc:cxnChg>
      </pc:sldChg>
      <pc:sldChg chg="addSp delSp modSp add mod ord">
        <pc:chgData name="CACERES SANDOVAL, EVA MARIA" userId="efa43ab3-f30d-49e0-8bcf-cbcf637d4549" providerId="ADAL" clId="{C6DC3022-C868-473E-8607-1E4341DC0F28}" dt="2024-05-22T19:06:02.822" v="2606" actId="1076"/>
        <pc:sldMkLst>
          <pc:docMk/>
          <pc:sldMk cId="915978399" sldId="935"/>
        </pc:sldMkLst>
        <pc:spChg chg="mod">
          <ac:chgData name="CACERES SANDOVAL, EVA MARIA" userId="efa43ab3-f30d-49e0-8bcf-cbcf637d4549" providerId="ADAL" clId="{C6DC3022-C868-473E-8607-1E4341DC0F28}" dt="2024-05-21T18:12:25.817" v="2527" actId="2711"/>
          <ac:spMkLst>
            <pc:docMk/>
            <pc:sldMk cId="915978399" sldId="935"/>
            <ac:spMk id="2" creationId="{E60990A3-0943-40C0-F3B0-629CBC8B6666}"/>
          </ac:spMkLst>
        </pc:spChg>
        <pc:spChg chg="add mod">
          <ac:chgData name="CACERES SANDOVAL, EVA MARIA" userId="efa43ab3-f30d-49e0-8bcf-cbcf637d4549" providerId="ADAL" clId="{C6DC3022-C868-473E-8607-1E4341DC0F28}" dt="2024-05-22T19:06:01.024" v="2605" actId="1076"/>
          <ac:spMkLst>
            <pc:docMk/>
            <pc:sldMk cId="915978399" sldId="935"/>
            <ac:spMk id="3" creationId="{DDC1E40E-29AE-B484-AD90-81E70EF536C7}"/>
          </ac:spMkLst>
        </pc:spChg>
        <pc:spChg chg="add del mod">
          <ac:chgData name="CACERES SANDOVAL, EVA MARIA" userId="efa43ab3-f30d-49e0-8bcf-cbcf637d4549" providerId="ADAL" clId="{C6DC3022-C868-473E-8607-1E4341DC0F28}" dt="2024-05-21T17:38:16.114" v="1114" actId="478"/>
          <ac:spMkLst>
            <pc:docMk/>
            <pc:sldMk cId="915978399" sldId="935"/>
            <ac:spMk id="5" creationId="{D4E31299-2B11-1B72-3493-36F74132977D}"/>
          </ac:spMkLst>
        </pc:spChg>
        <pc:spChg chg="add del mod">
          <ac:chgData name="CACERES SANDOVAL, EVA MARIA" userId="efa43ab3-f30d-49e0-8bcf-cbcf637d4549" providerId="ADAL" clId="{C6DC3022-C868-473E-8607-1E4341DC0F28}" dt="2024-05-21T17:54:54.362" v="1988" actId="478"/>
          <ac:spMkLst>
            <pc:docMk/>
            <pc:sldMk cId="915978399" sldId="935"/>
            <ac:spMk id="7" creationId="{AA008B85-2B5F-A03E-65F9-9FF10C0CB954}"/>
          </ac:spMkLst>
        </pc:spChg>
        <pc:spChg chg="mod">
          <ac:chgData name="CACERES SANDOVAL, EVA MARIA" userId="efa43ab3-f30d-49e0-8bcf-cbcf637d4549" providerId="ADAL" clId="{C6DC3022-C868-473E-8607-1E4341DC0F28}" dt="2024-05-22T19:06:02.822" v="2606" actId="1076"/>
          <ac:spMkLst>
            <pc:docMk/>
            <pc:sldMk cId="915978399" sldId="935"/>
            <ac:spMk id="10" creationId="{7F56BBAB-7B32-5F91-896F-33F06B98BD7F}"/>
          </ac:spMkLst>
        </pc:spChg>
        <pc:spChg chg="add mod">
          <ac:chgData name="CACERES SANDOVAL, EVA MARIA" userId="efa43ab3-f30d-49e0-8bcf-cbcf637d4549" providerId="ADAL" clId="{C6DC3022-C868-473E-8607-1E4341DC0F28}" dt="2024-05-21T17:54:57.735" v="1990" actId="1076"/>
          <ac:spMkLst>
            <pc:docMk/>
            <pc:sldMk cId="915978399" sldId="935"/>
            <ac:spMk id="11" creationId="{212AD403-0CF1-65D2-B624-963598D49C78}"/>
          </ac:spMkLst>
        </pc:spChg>
        <pc:grpChg chg="mod">
          <ac:chgData name="CACERES SANDOVAL, EVA MARIA" userId="efa43ab3-f30d-49e0-8bcf-cbcf637d4549" providerId="ADAL" clId="{C6DC3022-C868-473E-8607-1E4341DC0F28}" dt="2024-05-21T17:39:00.934" v="1124" actId="1076"/>
          <ac:grpSpMkLst>
            <pc:docMk/>
            <pc:sldMk cId="915978399" sldId="935"/>
            <ac:grpSpMk id="9" creationId="{73152118-76A1-B0A2-21F6-7EAB1BAD62CD}"/>
          </ac:grpSpMkLst>
        </pc:grpChg>
        <pc:picChg chg="mod">
          <ac:chgData name="CACERES SANDOVAL, EVA MARIA" userId="efa43ab3-f30d-49e0-8bcf-cbcf637d4549" providerId="ADAL" clId="{C6DC3022-C868-473E-8607-1E4341DC0F28}" dt="2024-05-21T17:33:57.798" v="632" actId="208"/>
          <ac:picMkLst>
            <pc:docMk/>
            <pc:sldMk cId="915978399" sldId="935"/>
            <ac:picMk id="6" creationId="{2BFCACBB-BFF5-643D-A8E6-CE049858D032}"/>
          </ac:picMkLst>
        </pc:picChg>
        <pc:picChg chg="mod">
          <ac:chgData name="CACERES SANDOVAL, EVA MARIA" userId="efa43ab3-f30d-49e0-8bcf-cbcf637d4549" providerId="ADAL" clId="{C6DC3022-C868-473E-8607-1E4341DC0F28}" dt="2024-05-21T17:33:57.798" v="632" actId="208"/>
          <ac:picMkLst>
            <pc:docMk/>
            <pc:sldMk cId="915978399" sldId="935"/>
            <ac:picMk id="8" creationId="{A0F771CA-B353-C120-7C33-CEADA5BB2504}"/>
          </ac:picMkLst>
        </pc:picChg>
      </pc:sldChg>
      <pc:sldChg chg="addSp delSp modSp add mod">
        <pc:chgData name="CACERES SANDOVAL, EVA MARIA" userId="efa43ab3-f30d-49e0-8bcf-cbcf637d4549" providerId="ADAL" clId="{C6DC3022-C868-473E-8607-1E4341DC0F28}" dt="2024-05-24T15:17:31.222" v="2880" actId="1076"/>
        <pc:sldMkLst>
          <pc:docMk/>
          <pc:sldMk cId="1215131089" sldId="936"/>
        </pc:sldMkLst>
        <pc:spChg chg="add mod">
          <ac:chgData name="CACERES SANDOVAL, EVA MARIA" userId="efa43ab3-f30d-49e0-8bcf-cbcf637d4549" providerId="ADAL" clId="{C6DC3022-C868-473E-8607-1E4341DC0F28}" dt="2024-05-24T15:17:07.813" v="2848" actId="14100"/>
          <ac:spMkLst>
            <pc:docMk/>
            <pc:sldMk cId="1215131089" sldId="936"/>
            <ac:spMk id="2" creationId="{27C9E62F-8938-D49B-6C88-16F877BB5CEB}"/>
          </ac:spMkLst>
        </pc:spChg>
        <pc:spChg chg="add mod">
          <ac:chgData name="CACERES SANDOVAL, EVA MARIA" userId="efa43ab3-f30d-49e0-8bcf-cbcf637d4549" providerId="ADAL" clId="{C6DC3022-C868-473E-8607-1E4341DC0F28}" dt="2024-05-24T15:17:31.222" v="2880" actId="1076"/>
          <ac:spMkLst>
            <pc:docMk/>
            <pc:sldMk cId="1215131089" sldId="936"/>
            <ac:spMk id="6" creationId="{53C91D88-5D96-7555-7C58-1D08DEC9C05A}"/>
          </ac:spMkLst>
        </pc:spChg>
        <pc:spChg chg="add mod">
          <ac:chgData name="CACERES SANDOVAL, EVA MARIA" userId="efa43ab3-f30d-49e0-8bcf-cbcf637d4549" providerId="ADAL" clId="{C6DC3022-C868-473E-8607-1E4341DC0F28}" dt="2024-05-21T17:54:32.077" v="1980" actId="1076"/>
          <ac:spMkLst>
            <pc:docMk/>
            <pc:sldMk cId="1215131089" sldId="936"/>
            <ac:spMk id="7" creationId="{EA00C67B-CF74-76E9-48B2-3348F90C7DA4}"/>
          </ac:spMkLst>
        </pc:spChg>
        <pc:spChg chg="mod">
          <ac:chgData name="CACERES SANDOVAL, EVA MARIA" userId="efa43ab3-f30d-49e0-8bcf-cbcf637d4549" providerId="ADAL" clId="{C6DC3022-C868-473E-8607-1E4341DC0F28}" dt="2024-05-22T19:06:27.756" v="2610" actId="2711"/>
          <ac:spMkLst>
            <pc:docMk/>
            <pc:sldMk cId="1215131089" sldId="936"/>
            <ac:spMk id="9" creationId="{DA5F819D-89B6-B121-879F-E688F5CD9E25}"/>
          </ac:spMkLst>
        </pc:spChg>
        <pc:spChg chg="mod">
          <ac:chgData name="CACERES SANDOVAL, EVA MARIA" userId="efa43ab3-f30d-49e0-8bcf-cbcf637d4549" providerId="ADAL" clId="{C6DC3022-C868-473E-8607-1E4341DC0F28}" dt="2024-05-21T18:12:06.557" v="2523" actId="2711"/>
          <ac:spMkLst>
            <pc:docMk/>
            <pc:sldMk cId="1215131089" sldId="936"/>
            <ac:spMk id="10" creationId="{D715F8AF-90E4-5089-CCA1-38D35B4F5D81}"/>
          </ac:spMkLst>
        </pc:spChg>
        <pc:picChg chg="add mod">
          <ac:chgData name="CACERES SANDOVAL, EVA MARIA" userId="efa43ab3-f30d-49e0-8bcf-cbcf637d4549" providerId="ADAL" clId="{C6DC3022-C868-473E-8607-1E4341DC0F28}" dt="2024-05-21T16:42:51.765" v="466" actId="1076"/>
          <ac:picMkLst>
            <pc:docMk/>
            <pc:sldMk cId="1215131089" sldId="936"/>
            <ac:picMk id="3" creationId="{667728B8-69BC-6EC4-317F-1D7A17E83DA0}"/>
          </ac:picMkLst>
        </pc:picChg>
        <pc:picChg chg="del">
          <ac:chgData name="CACERES SANDOVAL, EVA MARIA" userId="efa43ab3-f30d-49e0-8bcf-cbcf637d4549" providerId="ADAL" clId="{C6DC3022-C868-473E-8607-1E4341DC0F28}" dt="2024-05-21T16:42:00.100" v="460" actId="478"/>
          <ac:picMkLst>
            <pc:docMk/>
            <pc:sldMk cId="1215131089" sldId="936"/>
            <ac:picMk id="8" creationId="{5061998C-8B52-E7C2-87B1-DE39F34F4F97}"/>
          </ac:picMkLst>
        </pc:picChg>
        <pc:cxnChg chg="add del mod">
          <ac:chgData name="CACERES SANDOVAL, EVA MARIA" userId="efa43ab3-f30d-49e0-8bcf-cbcf637d4549" providerId="ADAL" clId="{C6DC3022-C868-473E-8607-1E4341DC0F28}" dt="2024-05-24T15:16:27.634" v="2817" actId="478"/>
          <ac:cxnSpMkLst>
            <pc:docMk/>
            <pc:sldMk cId="1215131089" sldId="936"/>
            <ac:cxnSpMk id="5" creationId="{F7C17AB4-B6B9-C514-91C6-D002B6A4CD9B}"/>
          </ac:cxnSpMkLst>
        </pc:cxnChg>
        <pc:cxnChg chg="add mod">
          <ac:chgData name="CACERES SANDOVAL, EVA MARIA" userId="efa43ab3-f30d-49e0-8bcf-cbcf637d4549" providerId="ADAL" clId="{C6DC3022-C868-473E-8607-1E4341DC0F28}" dt="2024-05-24T15:17:31.222" v="2880" actId="1076"/>
          <ac:cxnSpMkLst>
            <pc:docMk/>
            <pc:sldMk cId="1215131089" sldId="936"/>
            <ac:cxnSpMk id="8" creationId="{42111670-10DA-750F-D239-BD15DC8AB8DC}"/>
          </ac:cxnSpMkLst>
        </pc:cxnChg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068304750" sldId="4080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4078335500" sldId="4121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609611502" sldId="4124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493633827" sldId="4126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391351729" sldId="4133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185128486" sldId="4134"/>
        </pc:sldMkLst>
      </pc:sldChg>
      <pc:sldChg chg="del">
        <pc:chgData name="CACERES SANDOVAL, EVA MARIA" userId="efa43ab3-f30d-49e0-8bcf-cbcf637d4549" providerId="ADAL" clId="{C6DC3022-C868-473E-8607-1E4341DC0F28}" dt="2024-05-21T15:33:28.476" v="157" actId="47"/>
        <pc:sldMkLst>
          <pc:docMk/>
          <pc:sldMk cId="3543309772" sldId="6777"/>
        </pc:sldMkLst>
      </pc:sldChg>
      <pc:sldChg chg="del">
        <pc:chgData name="CACERES SANDOVAL, EVA MARIA" userId="efa43ab3-f30d-49e0-8bcf-cbcf637d4549" providerId="ADAL" clId="{C6DC3022-C868-473E-8607-1E4341DC0F28}" dt="2024-05-21T15:33:30.021" v="158" actId="47"/>
        <pc:sldMkLst>
          <pc:docMk/>
          <pc:sldMk cId="3149321003" sldId="6778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909832258" sldId="6786"/>
        </pc:sldMkLst>
      </pc:sldChg>
      <pc:sldChg chg="del">
        <pc:chgData name="CACERES SANDOVAL, EVA MARIA" userId="efa43ab3-f30d-49e0-8bcf-cbcf637d4549" providerId="ADAL" clId="{C6DC3022-C868-473E-8607-1E4341DC0F28}" dt="2024-05-21T15:30:29.804" v="1" actId="47"/>
        <pc:sldMkLst>
          <pc:docMk/>
          <pc:sldMk cId="2196945772" sldId="6790"/>
        </pc:sldMkLst>
      </pc:sldChg>
      <pc:sldChg chg="del">
        <pc:chgData name="CACERES SANDOVAL, EVA MARIA" userId="efa43ab3-f30d-49e0-8bcf-cbcf637d4549" providerId="ADAL" clId="{C6DC3022-C868-473E-8607-1E4341DC0F28}" dt="2024-05-21T15:30:29.804" v="1" actId="47"/>
        <pc:sldMkLst>
          <pc:docMk/>
          <pc:sldMk cId="2546688620" sldId="6806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82639941" sldId="6823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109693794" sldId="6824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106983411" sldId="6826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453518329" sldId="6828"/>
        </pc:sldMkLst>
      </pc:sldChg>
      <pc:sldChg chg="del">
        <pc:chgData name="CACERES SANDOVAL, EVA MARIA" userId="efa43ab3-f30d-49e0-8bcf-cbcf637d4549" providerId="ADAL" clId="{C6DC3022-C868-473E-8607-1E4341DC0F28}" dt="2024-05-21T15:30:29.804" v="1" actId="47"/>
        <pc:sldMkLst>
          <pc:docMk/>
          <pc:sldMk cId="1004994322" sldId="6831"/>
        </pc:sldMkLst>
      </pc:sldChg>
      <pc:sldChg chg="del">
        <pc:chgData name="CACERES SANDOVAL, EVA MARIA" userId="efa43ab3-f30d-49e0-8bcf-cbcf637d4549" providerId="ADAL" clId="{C6DC3022-C868-473E-8607-1E4341DC0F28}" dt="2024-05-21T15:30:29.804" v="1" actId="47"/>
        <pc:sldMkLst>
          <pc:docMk/>
          <pc:sldMk cId="73515290" sldId="6832"/>
        </pc:sldMkLst>
      </pc:sldChg>
      <pc:sldChg chg="del">
        <pc:chgData name="CACERES SANDOVAL, EVA MARIA" userId="efa43ab3-f30d-49e0-8bcf-cbcf637d4549" providerId="ADAL" clId="{C6DC3022-C868-473E-8607-1E4341DC0F28}" dt="2024-05-21T15:30:29.804" v="1" actId="47"/>
        <pc:sldMkLst>
          <pc:docMk/>
          <pc:sldMk cId="757193118" sldId="6833"/>
        </pc:sldMkLst>
      </pc:sldChg>
      <pc:sldChg chg="del">
        <pc:chgData name="CACERES SANDOVAL, EVA MARIA" userId="efa43ab3-f30d-49e0-8bcf-cbcf637d4549" providerId="ADAL" clId="{C6DC3022-C868-473E-8607-1E4341DC0F28}" dt="2024-05-21T15:33:17.154" v="137" actId="47"/>
        <pc:sldMkLst>
          <pc:docMk/>
          <pc:sldMk cId="1626777162" sldId="6834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146841221" sldId="6835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769415539" sldId="6836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212331134" sldId="6837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476010087" sldId="6838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4068326032" sldId="6839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773199709" sldId="6840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909895322" sldId="8122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868708376" sldId="8124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013133411" sldId="8126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702247926" sldId="8127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182191403" sldId="8128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2382528063" sldId="8129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370683655" sldId="8130"/>
        </pc:sldMkLst>
      </pc:sldChg>
      <pc:sldChg chg="del">
        <pc:chgData name="CACERES SANDOVAL, EVA MARIA" userId="efa43ab3-f30d-49e0-8bcf-cbcf637d4549" providerId="ADAL" clId="{C6DC3022-C868-473E-8607-1E4341DC0F28}" dt="2024-05-21T15:33:37.450" v="159" actId="47"/>
        <pc:sldMkLst>
          <pc:docMk/>
          <pc:sldMk cId="3605014265" sldId="8131"/>
        </pc:sldMkLst>
      </pc:sldChg>
      <pc:sldChg chg="del">
        <pc:chgData name="CACERES SANDOVAL, EVA MARIA" userId="efa43ab3-f30d-49e0-8bcf-cbcf637d4549" providerId="ADAL" clId="{C6DC3022-C868-473E-8607-1E4341DC0F28}" dt="2024-05-21T15:30:59.811" v="55" actId="47"/>
        <pc:sldMkLst>
          <pc:docMk/>
          <pc:sldMk cId="1182528563" sldId="8132"/>
        </pc:sldMkLst>
      </pc:sldChg>
      <pc:sldChg chg="addSp delSp modSp add mod">
        <pc:chgData name="CACERES SANDOVAL, EVA MARIA" userId="efa43ab3-f30d-49e0-8bcf-cbcf637d4549" providerId="ADAL" clId="{C6DC3022-C868-473E-8607-1E4341DC0F28}" dt="2024-05-24T15:09:58.656" v="2701" actId="14100"/>
        <pc:sldMkLst>
          <pc:docMk/>
          <pc:sldMk cId="4091519663" sldId="8132"/>
        </pc:sldMkLst>
        <pc:spChg chg="del">
          <ac:chgData name="CACERES SANDOVAL, EVA MARIA" userId="efa43ab3-f30d-49e0-8bcf-cbcf637d4549" providerId="ADAL" clId="{C6DC3022-C868-473E-8607-1E4341DC0F28}" dt="2024-05-21T15:33:53.195" v="160" actId="478"/>
          <ac:spMkLst>
            <pc:docMk/>
            <pc:sldMk cId="4091519663" sldId="8132"/>
            <ac:spMk id="3" creationId="{A74000BB-01C3-44BA-816C-04CA7BEBCF72}"/>
          </ac:spMkLst>
        </pc:spChg>
        <pc:spChg chg="del">
          <ac:chgData name="CACERES SANDOVAL, EVA MARIA" userId="efa43ab3-f30d-49e0-8bcf-cbcf637d4549" providerId="ADAL" clId="{C6DC3022-C868-473E-8607-1E4341DC0F28}" dt="2024-05-21T15:34:02.587" v="166" actId="478"/>
          <ac:spMkLst>
            <pc:docMk/>
            <pc:sldMk cId="4091519663" sldId="8132"/>
            <ac:spMk id="6" creationId="{6C1E2C2E-24E6-2DB4-39F5-CB11C3842301}"/>
          </ac:spMkLst>
        </pc:spChg>
        <pc:spChg chg="add del mod">
          <ac:chgData name="CACERES SANDOVAL, EVA MARIA" userId="efa43ab3-f30d-49e0-8bcf-cbcf637d4549" providerId="ADAL" clId="{C6DC3022-C868-473E-8607-1E4341DC0F28}" dt="2024-05-21T15:33:59.195" v="162" actId="478"/>
          <ac:spMkLst>
            <pc:docMk/>
            <pc:sldMk cId="4091519663" sldId="8132"/>
            <ac:spMk id="7" creationId="{653298E9-8D7B-B350-5DF0-2803E1DF8806}"/>
          </ac:spMkLst>
        </pc:spChg>
        <pc:spChg chg="del">
          <ac:chgData name="CACERES SANDOVAL, EVA MARIA" userId="efa43ab3-f30d-49e0-8bcf-cbcf637d4549" providerId="ADAL" clId="{C6DC3022-C868-473E-8607-1E4341DC0F28}" dt="2024-05-21T15:34:02.939" v="167" actId="478"/>
          <ac:spMkLst>
            <pc:docMk/>
            <pc:sldMk cId="4091519663" sldId="8132"/>
            <ac:spMk id="8" creationId="{0C15AD5F-2605-F10F-A40A-B2DCE140072D}"/>
          </ac:spMkLst>
        </pc:spChg>
        <pc:spChg chg="mod">
          <ac:chgData name="CACERES SANDOVAL, EVA MARIA" userId="efa43ab3-f30d-49e0-8bcf-cbcf637d4549" providerId="ADAL" clId="{C6DC3022-C868-473E-8607-1E4341DC0F28}" dt="2024-05-21T18:09:50.554" v="2379" actId="2711"/>
          <ac:spMkLst>
            <pc:docMk/>
            <pc:sldMk cId="4091519663" sldId="8132"/>
            <ac:spMk id="9" creationId="{2CCD0179-02F2-8188-2F3C-5EC85CFAEB28}"/>
          </ac:spMkLst>
        </pc:spChg>
        <pc:spChg chg="del">
          <ac:chgData name="CACERES SANDOVAL, EVA MARIA" userId="efa43ab3-f30d-49e0-8bcf-cbcf637d4549" providerId="ADAL" clId="{C6DC3022-C868-473E-8607-1E4341DC0F28}" dt="2024-05-21T15:34:00.031" v="163" actId="478"/>
          <ac:spMkLst>
            <pc:docMk/>
            <pc:sldMk cId="4091519663" sldId="8132"/>
            <ac:spMk id="11" creationId="{DB2AFE03-F3DA-ED5E-0F58-FB1B85F2393B}"/>
          </ac:spMkLst>
        </pc:spChg>
        <pc:spChg chg="del">
          <ac:chgData name="CACERES SANDOVAL, EVA MARIA" userId="efa43ab3-f30d-49e0-8bcf-cbcf637d4549" providerId="ADAL" clId="{C6DC3022-C868-473E-8607-1E4341DC0F28}" dt="2024-05-21T15:34:00.523" v="164" actId="478"/>
          <ac:spMkLst>
            <pc:docMk/>
            <pc:sldMk cId="4091519663" sldId="8132"/>
            <ac:spMk id="12" creationId="{2A5F4AE4-3F90-D5B0-F07F-FF52C44102BB}"/>
          </ac:spMkLst>
        </pc:spChg>
        <pc:spChg chg="del">
          <ac:chgData name="CACERES SANDOVAL, EVA MARIA" userId="efa43ab3-f30d-49e0-8bcf-cbcf637d4549" providerId="ADAL" clId="{C6DC3022-C868-473E-8607-1E4341DC0F28}" dt="2024-05-21T15:34:01.323" v="165" actId="478"/>
          <ac:spMkLst>
            <pc:docMk/>
            <pc:sldMk cId="4091519663" sldId="8132"/>
            <ac:spMk id="13" creationId="{C8A49855-0EE7-D7DF-868F-8404FC0A1B83}"/>
          </ac:spMkLst>
        </pc:spChg>
        <pc:graphicFrameChg chg="add del mod">
          <ac:chgData name="CACERES SANDOVAL, EVA MARIA" userId="efa43ab3-f30d-49e0-8bcf-cbcf637d4549" providerId="ADAL" clId="{C6DC3022-C868-473E-8607-1E4341DC0F28}" dt="2024-05-21T15:34:57.567" v="173" actId="478"/>
          <ac:graphicFrameMkLst>
            <pc:docMk/>
            <pc:sldMk cId="4091519663" sldId="8132"/>
            <ac:graphicFrameMk id="10" creationId="{4FBD55C8-98D5-58F1-DAD8-B92EA176B0F3}"/>
          </ac:graphicFrameMkLst>
        </pc:graphicFrameChg>
        <pc:graphicFrameChg chg="add del mod modGraphic">
          <ac:chgData name="CACERES SANDOVAL, EVA MARIA" userId="efa43ab3-f30d-49e0-8bcf-cbcf637d4549" providerId="ADAL" clId="{C6DC3022-C868-473E-8607-1E4341DC0F28}" dt="2024-05-23T16:45:36.563" v="2613" actId="478"/>
          <ac:graphicFrameMkLst>
            <pc:docMk/>
            <pc:sldMk cId="4091519663" sldId="8132"/>
            <ac:graphicFrameMk id="14" creationId="{84CECA3C-83C6-E977-6C05-4FDAEE144716}"/>
          </ac:graphicFrameMkLst>
        </pc:graphicFrameChg>
        <pc:picChg chg="add mod">
          <ac:chgData name="CACERES SANDOVAL, EVA MARIA" userId="efa43ab3-f30d-49e0-8bcf-cbcf637d4549" providerId="ADAL" clId="{C6DC3022-C868-473E-8607-1E4341DC0F28}" dt="2024-05-24T15:09:58.656" v="2701" actId="14100"/>
          <ac:picMkLst>
            <pc:docMk/>
            <pc:sldMk cId="4091519663" sldId="8132"/>
            <ac:picMk id="3" creationId="{84C3DAD1-4D89-F3C0-89FD-5F95ADF5F7CD}"/>
          </ac:picMkLst>
        </pc:picChg>
        <pc:picChg chg="del">
          <ac:chgData name="CACERES SANDOVAL, EVA MARIA" userId="efa43ab3-f30d-49e0-8bcf-cbcf637d4549" providerId="ADAL" clId="{C6DC3022-C868-473E-8607-1E4341DC0F28}" dt="2024-05-21T15:33:55.099" v="161" actId="478"/>
          <ac:picMkLst>
            <pc:docMk/>
            <pc:sldMk cId="4091519663" sldId="8132"/>
            <ac:picMk id="5" creationId="{93C84370-A5B6-27F6-2289-75A9510A33EE}"/>
          </ac:picMkLst>
        </pc:picChg>
      </pc:sldChg>
      <pc:sldChg chg="addSp delSp modSp add del mod">
        <pc:chgData name="CACERES SANDOVAL, EVA MARIA" userId="efa43ab3-f30d-49e0-8bcf-cbcf637d4549" providerId="ADAL" clId="{C6DC3022-C868-473E-8607-1E4341DC0F28}" dt="2024-05-23T16:45:56.235" v="2615" actId="47"/>
        <pc:sldMkLst>
          <pc:docMk/>
          <pc:sldMk cId="4240044063" sldId="8133"/>
        </pc:sldMkLst>
        <pc:spChg chg="mod">
          <ac:chgData name="CACERES SANDOVAL, EVA MARIA" userId="efa43ab3-f30d-49e0-8bcf-cbcf637d4549" providerId="ADAL" clId="{C6DC3022-C868-473E-8607-1E4341DC0F28}" dt="2024-05-21T18:09:55.727" v="2380" actId="2711"/>
          <ac:spMkLst>
            <pc:docMk/>
            <pc:sldMk cId="4240044063" sldId="8133"/>
            <ac:spMk id="9" creationId="{2CCD0179-02F2-8188-2F3C-5EC85CFAEB28}"/>
          </ac:spMkLst>
        </pc:spChg>
        <pc:graphicFrameChg chg="add del mod modGraphic">
          <ac:chgData name="CACERES SANDOVAL, EVA MARIA" userId="efa43ab3-f30d-49e0-8bcf-cbcf637d4549" providerId="ADAL" clId="{C6DC3022-C868-473E-8607-1E4341DC0F28}" dt="2024-05-21T15:35:03.437" v="175" actId="478"/>
          <ac:graphicFrameMkLst>
            <pc:docMk/>
            <pc:sldMk cId="4240044063" sldId="8133"/>
            <ac:graphicFrameMk id="2" creationId="{ED5CA5CE-7D8D-4C64-AF2E-63645FA78BE7}"/>
          </ac:graphicFrameMkLst>
        </pc:graphicFrameChg>
        <pc:graphicFrameChg chg="add del mod modGraphic">
          <ac:chgData name="CACERES SANDOVAL, EVA MARIA" userId="efa43ab3-f30d-49e0-8bcf-cbcf637d4549" providerId="ADAL" clId="{C6DC3022-C868-473E-8607-1E4341DC0F28}" dt="2024-05-23T16:45:39.967" v="2614" actId="478"/>
          <ac:graphicFrameMkLst>
            <pc:docMk/>
            <pc:sldMk cId="4240044063" sldId="8133"/>
            <ac:graphicFrameMk id="3" creationId="{192DFCB3-DCA0-0BF4-F63F-A69B590DCDA0}"/>
          </ac:graphicFrameMkLst>
        </pc:graphicFrameChg>
        <pc:graphicFrameChg chg="del">
          <ac:chgData name="CACERES SANDOVAL, EVA MARIA" userId="efa43ab3-f30d-49e0-8bcf-cbcf637d4549" providerId="ADAL" clId="{C6DC3022-C868-473E-8607-1E4341DC0F28}" dt="2024-05-21T15:34:14.866" v="170" actId="478"/>
          <ac:graphicFrameMkLst>
            <pc:docMk/>
            <pc:sldMk cId="4240044063" sldId="8133"/>
            <ac:graphicFrameMk id="10" creationId="{4FBD55C8-98D5-58F1-DAD8-B92EA176B0F3}"/>
          </ac:graphicFrameMkLst>
        </pc:graphicFrameChg>
      </pc:sldChg>
      <pc:sldChg chg="addSp delSp modSp new del mod">
        <pc:chgData name="CACERES SANDOVAL, EVA MARIA" userId="efa43ab3-f30d-49e0-8bcf-cbcf637d4549" providerId="ADAL" clId="{C6DC3022-C868-473E-8607-1E4341DC0F28}" dt="2024-05-21T17:55:28.963" v="2016" actId="47"/>
        <pc:sldMkLst>
          <pc:docMk/>
          <pc:sldMk cId="1453229092" sldId="8134"/>
        </pc:sldMkLst>
        <pc:spChg chg="mod">
          <ac:chgData name="CACERES SANDOVAL, EVA MARIA" userId="efa43ab3-f30d-49e0-8bcf-cbcf637d4549" providerId="ADAL" clId="{C6DC3022-C868-473E-8607-1E4341DC0F28}" dt="2024-05-21T17:03:32.431" v="613" actId="1076"/>
          <ac:spMkLst>
            <pc:docMk/>
            <pc:sldMk cId="1453229092" sldId="8134"/>
            <ac:spMk id="2" creationId="{312E9D93-B206-88B1-ECAF-E8FD75E05592}"/>
          </ac:spMkLst>
        </pc:spChg>
        <pc:spChg chg="del mod">
          <ac:chgData name="CACERES SANDOVAL, EVA MARIA" userId="efa43ab3-f30d-49e0-8bcf-cbcf637d4549" providerId="ADAL" clId="{C6DC3022-C868-473E-8607-1E4341DC0F28}" dt="2024-05-21T17:48:25.726" v="1759" actId="478"/>
          <ac:spMkLst>
            <pc:docMk/>
            <pc:sldMk cId="1453229092" sldId="8134"/>
            <ac:spMk id="3" creationId="{E30E0DC4-D46A-E6B4-9D3D-77B44D0BFD70}"/>
          </ac:spMkLst>
        </pc:spChg>
        <pc:spChg chg="add mod">
          <ac:chgData name="CACERES SANDOVAL, EVA MARIA" userId="efa43ab3-f30d-49e0-8bcf-cbcf637d4549" providerId="ADAL" clId="{C6DC3022-C868-473E-8607-1E4341DC0F28}" dt="2024-05-21T17:48:33.137" v="1762" actId="1076"/>
          <ac:spMkLst>
            <pc:docMk/>
            <pc:sldMk cId="1453229092" sldId="8134"/>
            <ac:spMk id="5" creationId="{70698790-BF8C-80AF-6176-730167FCE3CE}"/>
          </ac:spMkLst>
        </pc:spChg>
        <pc:spChg chg="add mod">
          <ac:chgData name="CACERES SANDOVAL, EVA MARIA" userId="efa43ab3-f30d-49e0-8bcf-cbcf637d4549" providerId="ADAL" clId="{C6DC3022-C868-473E-8607-1E4341DC0F28}" dt="2024-05-21T16:59:55.440" v="594" actId="27636"/>
          <ac:spMkLst>
            <pc:docMk/>
            <pc:sldMk cId="1453229092" sldId="8134"/>
            <ac:spMk id="6" creationId="{26A5E90D-7D37-9046-FA6C-F2C222181058}"/>
          </ac:spMkLst>
        </pc:spChg>
        <pc:spChg chg="add del mod">
          <ac:chgData name="CACERES SANDOVAL, EVA MARIA" userId="efa43ab3-f30d-49e0-8bcf-cbcf637d4549" providerId="ADAL" clId="{C6DC3022-C868-473E-8607-1E4341DC0F28}" dt="2024-05-21T16:52:36.611" v="571" actId="478"/>
          <ac:spMkLst>
            <pc:docMk/>
            <pc:sldMk cId="1453229092" sldId="8134"/>
            <ac:spMk id="7" creationId="{CEF98CEA-1607-6670-3D30-7B6C407614CF}"/>
          </ac:spMkLst>
        </pc:spChg>
        <pc:spChg chg="add mod">
          <ac:chgData name="CACERES SANDOVAL, EVA MARIA" userId="efa43ab3-f30d-49e0-8bcf-cbcf637d4549" providerId="ADAL" clId="{C6DC3022-C868-473E-8607-1E4341DC0F28}" dt="2024-05-21T17:55:23.806" v="2015" actId="20577"/>
          <ac:spMkLst>
            <pc:docMk/>
            <pc:sldMk cId="1453229092" sldId="8134"/>
            <ac:spMk id="15" creationId="{8D2EE550-D829-C168-B26D-0FB4976F7C21}"/>
          </ac:spMkLst>
        </pc:spChg>
        <pc:spChg chg="add del mod">
          <ac:chgData name="CACERES SANDOVAL, EVA MARIA" userId="efa43ab3-f30d-49e0-8bcf-cbcf637d4549" providerId="ADAL" clId="{C6DC3022-C868-473E-8607-1E4341DC0F28}" dt="2024-05-21T17:48:27.298" v="1760" actId="478"/>
          <ac:spMkLst>
            <pc:docMk/>
            <pc:sldMk cId="1453229092" sldId="8134"/>
            <ac:spMk id="17" creationId="{BF731979-41B7-869C-C7AD-73F0F5E7304B}"/>
          </ac:spMkLst>
        </pc:spChg>
        <pc:grpChg chg="add del mod">
          <ac:chgData name="CACERES SANDOVAL, EVA MARIA" userId="efa43ab3-f30d-49e0-8bcf-cbcf637d4549" providerId="ADAL" clId="{C6DC3022-C868-473E-8607-1E4341DC0F28}" dt="2024-05-21T17:48:19.692" v="1757" actId="478"/>
          <ac:grpSpMkLst>
            <pc:docMk/>
            <pc:sldMk cId="1453229092" sldId="8134"/>
            <ac:grpSpMk id="14" creationId="{1329E8E6-D797-FD7F-EEC6-E1DB44726218}"/>
          </ac:grpSpMkLst>
        </pc:grpChg>
        <pc:picChg chg="add del mod topLvl">
          <ac:chgData name="CACERES SANDOVAL, EVA MARIA" userId="efa43ab3-f30d-49e0-8bcf-cbcf637d4549" providerId="ADAL" clId="{C6DC3022-C868-473E-8607-1E4341DC0F28}" dt="2024-05-21T17:48:19.692" v="1757" actId="478"/>
          <ac:picMkLst>
            <pc:docMk/>
            <pc:sldMk cId="1453229092" sldId="8134"/>
            <ac:picMk id="9" creationId="{731DDFFE-56A8-E333-2112-298C40A4F22A}"/>
          </ac:picMkLst>
        </pc:picChg>
        <pc:picChg chg="add del mod topLvl modCrop">
          <ac:chgData name="CACERES SANDOVAL, EVA MARIA" userId="efa43ab3-f30d-49e0-8bcf-cbcf637d4549" providerId="ADAL" clId="{C6DC3022-C868-473E-8607-1E4341DC0F28}" dt="2024-05-21T17:48:21.500" v="1758" actId="478"/>
          <ac:picMkLst>
            <pc:docMk/>
            <pc:sldMk cId="1453229092" sldId="8134"/>
            <ac:picMk id="11" creationId="{DDD538DC-AFB7-FEB5-4E3D-8C8B90A849A6}"/>
          </ac:picMkLst>
        </pc:picChg>
        <pc:picChg chg="add mod">
          <ac:chgData name="CACERES SANDOVAL, EVA MARIA" userId="efa43ab3-f30d-49e0-8bcf-cbcf637d4549" providerId="ADAL" clId="{C6DC3022-C868-473E-8607-1E4341DC0F28}" dt="2024-05-21T17:48:29.605" v="1761" actId="1076"/>
          <ac:picMkLst>
            <pc:docMk/>
            <pc:sldMk cId="1453229092" sldId="8134"/>
            <ac:picMk id="13" creationId="{D91F9047-3841-65D5-43BD-54291F127903}"/>
          </ac:picMkLst>
        </pc:picChg>
        <pc:picChg chg="add mod">
          <ac:chgData name="CACERES SANDOVAL, EVA MARIA" userId="efa43ab3-f30d-49e0-8bcf-cbcf637d4549" providerId="ADAL" clId="{C6DC3022-C868-473E-8607-1E4341DC0F28}" dt="2024-05-21T17:04:04.385" v="621" actId="1076"/>
          <ac:picMkLst>
            <pc:docMk/>
            <pc:sldMk cId="1453229092" sldId="8134"/>
            <ac:picMk id="3074" creationId="{9E8C4EC4-DB1A-D43C-9964-2BD0CB74C9F6}"/>
          </ac:picMkLst>
        </pc:picChg>
        <pc:picChg chg="add mod">
          <ac:chgData name="CACERES SANDOVAL, EVA MARIA" userId="efa43ab3-f30d-49e0-8bcf-cbcf637d4549" providerId="ADAL" clId="{C6DC3022-C868-473E-8607-1E4341DC0F28}" dt="2024-05-21T17:04:02.581" v="620" actId="1076"/>
          <ac:picMkLst>
            <pc:docMk/>
            <pc:sldMk cId="1453229092" sldId="8134"/>
            <ac:picMk id="3076" creationId="{CC475F87-69BB-5218-BCFB-C89908ED60BC}"/>
          </ac:picMkLst>
        </pc:picChg>
      </pc:sldChg>
      <pc:sldChg chg="delSp modSp add del mod">
        <pc:chgData name="CACERES SANDOVAL, EVA MARIA" userId="efa43ab3-f30d-49e0-8bcf-cbcf637d4549" providerId="ADAL" clId="{C6DC3022-C868-473E-8607-1E4341DC0F28}" dt="2024-05-21T15:36:37.439" v="203" actId="47"/>
        <pc:sldMkLst>
          <pc:docMk/>
          <pc:sldMk cId="2303856973" sldId="8134"/>
        </pc:sldMkLst>
        <pc:spChg chg="mod">
          <ac:chgData name="CACERES SANDOVAL, EVA MARIA" userId="efa43ab3-f30d-49e0-8bcf-cbcf637d4549" providerId="ADAL" clId="{C6DC3022-C868-473E-8607-1E4341DC0F28}" dt="2024-05-21T15:36:29.965" v="201" actId="20577"/>
          <ac:spMkLst>
            <pc:docMk/>
            <pc:sldMk cId="2303856973" sldId="8134"/>
            <ac:spMk id="9" creationId="{2CCD0179-02F2-8188-2F3C-5EC85CFAEB28}"/>
          </ac:spMkLst>
        </pc:spChg>
        <pc:graphicFrameChg chg="del">
          <ac:chgData name="CACERES SANDOVAL, EVA MARIA" userId="efa43ab3-f30d-49e0-8bcf-cbcf637d4549" providerId="ADAL" clId="{C6DC3022-C868-473E-8607-1E4341DC0F28}" dt="2024-05-21T15:36:21.567" v="180" actId="478"/>
          <ac:graphicFrameMkLst>
            <pc:docMk/>
            <pc:sldMk cId="2303856973" sldId="8134"/>
            <ac:graphicFrameMk id="3" creationId="{192DFCB3-DCA0-0BF4-F63F-A69B590DCDA0}"/>
          </ac:graphicFrameMkLst>
        </pc:graphicFrameChg>
      </pc:sldChg>
      <pc:sldChg chg="modSp new del mod">
        <pc:chgData name="CACERES SANDOVAL, EVA MARIA" userId="efa43ab3-f30d-49e0-8bcf-cbcf637d4549" providerId="ADAL" clId="{C6DC3022-C868-473E-8607-1E4341DC0F28}" dt="2024-05-21T15:40:21.628" v="306" actId="47"/>
        <pc:sldMkLst>
          <pc:docMk/>
          <pc:sldMk cId="2155636405" sldId="8135"/>
        </pc:sldMkLst>
        <pc:spChg chg="mod">
          <ac:chgData name="CACERES SANDOVAL, EVA MARIA" userId="efa43ab3-f30d-49e0-8bcf-cbcf637d4549" providerId="ADAL" clId="{C6DC3022-C868-473E-8607-1E4341DC0F28}" dt="2024-05-21T15:36:45.255" v="221" actId="207"/>
          <ac:spMkLst>
            <pc:docMk/>
            <pc:sldMk cId="2155636405" sldId="8135"/>
            <ac:spMk id="2" creationId="{719F32C7-FB80-2556-BD9B-1D61999F4AE2}"/>
          </ac:spMkLst>
        </pc:spChg>
        <pc:spChg chg="mod">
          <ac:chgData name="CACERES SANDOVAL, EVA MARIA" userId="efa43ab3-f30d-49e0-8bcf-cbcf637d4549" providerId="ADAL" clId="{C6DC3022-C868-473E-8607-1E4341DC0F28}" dt="2024-05-21T15:37:44.867" v="305" actId="20577"/>
          <ac:spMkLst>
            <pc:docMk/>
            <pc:sldMk cId="2155636405" sldId="8135"/>
            <ac:spMk id="3" creationId="{F4E2F02E-E2FC-3F38-7A3C-CB41BCA56F16}"/>
          </ac:spMkLst>
        </pc:spChg>
      </pc:sldChg>
      <pc:sldChg chg="addSp delSp modSp add mod">
        <pc:chgData name="CACERES SANDOVAL, EVA MARIA" userId="efa43ab3-f30d-49e0-8bcf-cbcf637d4549" providerId="ADAL" clId="{C6DC3022-C868-473E-8607-1E4341DC0F28}" dt="2024-05-24T15:19:11.452" v="2910" actId="1076"/>
        <pc:sldMkLst>
          <pc:docMk/>
          <pc:sldMk cId="4035862276" sldId="8135"/>
        </pc:sldMkLst>
        <pc:spChg chg="mod">
          <ac:chgData name="CACERES SANDOVAL, EVA MARIA" userId="efa43ab3-f30d-49e0-8bcf-cbcf637d4549" providerId="ADAL" clId="{C6DC3022-C868-473E-8607-1E4341DC0F28}" dt="2024-05-21T17:56:56.358" v="2140" actId="1076"/>
          <ac:spMkLst>
            <pc:docMk/>
            <pc:sldMk cId="4035862276" sldId="8135"/>
            <ac:spMk id="3" creationId="{E30E0DC4-D46A-E6B4-9D3D-77B44D0BFD70}"/>
          </ac:spMkLst>
        </pc:spChg>
        <pc:spChg chg="del">
          <ac:chgData name="CACERES SANDOVAL, EVA MARIA" userId="efa43ab3-f30d-49e0-8bcf-cbcf637d4549" providerId="ADAL" clId="{C6DC3022-C868-473E-8607-1E4341DC0F28}" dt="2024-05-21T17:59:55.226" v="2302" actId="478"/>
          <ac:spMkLst>
            <pc:docMk/>
            <pc:sldMk cId="4035862276" sldId="8135"/>
            <ac:spMk id="4" creationId="{24F32948-7BB1-A525-9830-1FA155CEFA19}"/>
          </ac:spMkLst>
        </pc:spChg>
        <pc:spChg chg="mod">
          <ac:chgData name="CACERES SANDOVAL, EVA MARIA" userId="efa43ab3-f30d-49e0-8bcf-cbcf637d4549" providerId="ADAL" clId="{C6DC3022-C868-473E-8607-1E4341DC0F28}" dt="2024-05-21T17:56:59.226" v="2142" actId="1076"/>
          <ac:spMkLst>
            <pc:docMk/>
            <pc:sldMk cId="4035862276" sldId="8135"/>
            <ac:spMk id="5" creationId="{70698790-BF8C-80AF-6176-730167FCE3CE}"/>
          </ac:spMkLst>
        </pc:spChg>
        <pc:spChg chg="mod">
          <ac:chgData name="CACERES SANDOVAL, EVA MARIA" userId="efa43ab3-f30d-49e0-8bcf-cbcf637d4549" providerId="ADAL" clId="{C6DC3022-C868-473E-8607-1E4341DC0F28}" dt="2024-05-21T17:57:40.116" v="2251" actId="6549"/>
          <ac:spMkLst>
            <pc:docMk/>
            <pc:sldMk cId="4035862276" sldId="8135"/>
            <ac:spMk id="6" creationId="{26A5E90D-7D37-9046-FA6C-F2C222181058}"/>
          </ac:spMkLst>
        </pc:spChg>
        <pc:spChg chg="add mod">
          <ac:chgData name="CACERES SANDOVAL, EVA MARIA" userId="efa43ab3-f30d-49e0-8bcf-cbcf637d4549" providerId="ADAL" clId="{C6DC3022-C868-473E-8607-1E4341DC0F28}" dt="2024-05-24T15:18:34.653" v="2898" actId="1076"/>
          <ac:spMkLst>
            <pc:docMk/>
            <pc:sldMk cId="4035862276" sldId="8135"/>
            <ac:spMk id="7" creationId="{91444E16-CE77-D9BA-DDE3-F495990242A3}"/>
          </ac:spMkLst>
        </pc:spChg>
        <pc:spChg chg="add mod">
          <ac:chgData name="CACERES SANDOVAL, EVA MARIA" userId="efa43ab3-f30d-49e0-8bcf-cbcf637d4549" providerId="ADAL" clId="{C6DC3022-C868-473E-8607-1E4341DC0F28}" dt="2024-05-24T15:19:10.613" v="2909" actId="1076"/>
          <ac:spMkLst>
            <pc:docMk/>
            <pc:sldMk cId="4035862276" sldId="8135"/>
            <ac:spMk id="8" creationId="{25F2B63D-D57B-B0B1-1F28-11ABCD2DDC39}"/>
          </ac:spMkLst>
        </pc:spChg>
        <pc:spChg chg="add del">
          <ac:chgData name="CACERES SANDOVAL, EVA MARIA" userId="efa43ab3-f30d-49e0-8bcf-cbcf637d4549" providerId="ADAL" clId="{C6DC3022-C868-473E-8607-1E4341DC0F28}" dt="2024-05-21T17:59:28.474" v="2292" actId="478"/>
          <ac:spMkLst>
            <pc:docMk/>
            <pc:sldMk cId="4035862276" sldId="8135"/>
            <ac:spMk id="12" creationId="{730A97BE-2031-A9F1-3C3B-851E45B37894}"/>
          </ac:spMkLst>
        </pc:spChg>
        <pc:spChg chg="mod">
          <ac:chgData name="CACERES SANDOVAL, EVA MARIA" userId="efa43ab3-f30d-49e0-8bcf-cbcf637d4549" providerId="ADAL" clId="{C6DC3022-C868-473E-8607-1E4341DC0F28}" dt="2024-05-21T18:12:01.664" v="2522" actId="2711"/>
          <ac:spMkLst>
            <pc:docMk/>
            <pc:sldMk cId="4035862276" sldId="8135"/>
            <ac:spMk id="15" creationId="{8D2EE550-D829-C168-B26D-0FB4976F7C21}"/>
          </ac:spMkLst>
        </pc:spChg>
        <pc:grpChg chg="mod">
          <ac:chgData name="CACERES SANDOVAL, EVA MARIA" userId="efa43ab3-f30d-49e0-8bcf-cbcf637d4549" providerId="ADAL" clId="{C6DC3022-C868-473E-8607-1E4341DC0F28}" dt="2024-05-21T17:56:57.388" v="2141" actId="1076"/>
          <ac:grpSpMkLst>
            <pc:docMk/>
            <pc:sldMk cId="4035862276" sldId="8135"/>
            <ac:grpSpMk id="14" creationId="{1329E8E6-D797-FD7F-EEC6-E1DB44726218}"/>
          </ac:grpSpMkLst>
        </pc:grpChg>
        <pc:grpChg chg="add mod">
          <ac:chgData name="CACERES SANDOVAL, EVA MARIA" userId="efa43ab3-f30d-49e0-8bcf-cbcf637d4549" providerId="ADAL" clId="{C6DC3022-C868-473E-8607-1E4341DC0F28}" dt="2024-05-24T15:18:32.704" v="2897" actId="1076"/>
          <ac:grpSpMkLst>
            <pc:docMk/>
            <pc:sldMk cId="4035862276" sldId="8135"/>
            <ac:grpSpMk id="26" creationId="{469A55C9-54D5-A40A-FC23-5AED4B200043}"/>
          </ac:grpSpMkLst>
        </pc:grpChg>
        <pc:picChg chg="mod">
          <ac:chgData name="CACERES SANDOVAL, EVA MARIA" userId="efa43ab3-f30d-49e0-8bcf-cbcf637d4549" providerId="ADAL" clId="{C6DC3022-C868-473E-8607-1E4341DC0F28}" dt="2024-05-21T17:57:00.594" v="2143" actId="1076"/>
          <ac:picMkLst>
            <pc:docMk/>
            <pc:sldMk cId="4035862276" sldId="8135"/>
            <ac:picMk id="13" creationId="{D91F9047-3841-65D5-43BD-54291F127903}"/>
          </ac:picMkLst>
        </pc:picChg>
        <pc:picChg chg="add mod">
          <ac:chgData name="CACERES SANDOVAL, EVA MARIA" userId="efa43ab3-f30d-49e0-8bcf-cbcf637d4549" providerId="ADAL" clId="{C6DC3022-C868-473E-8607-1E4341DC0F28}" dt="2024-05-24T15:19:11.452" v="2910" actId="1076"/>
          <ac:picMkLst>
            <pc:docMk/>
            <pc:sldMk cId="4035862276" sldId="8135"/>
            <ac:picMk id="17" creationId="{09AAA2C8-98F0-1EFE-D04F-A7EAF7FAF964}"/>
          </ac:picMkLst>
        </pc:picChg>
        <pc:picChg chg="add mod modCrop">
          <ac:chgData name="CACERES SANDOVAL, EVA MARIA" userId="efa43ab3-f30d-49e0-8bcf-cbcf637d4549" providerId="ADAL" clId="{C6DC3022-C868-473E-8607-1E4341DC0F28}" dt="2024-05-22T19:01:36.651" v="2529" actId="164"/>
          <ac:picMkLst>
            <pc:docMk/>
            <pc:sldMk cId="4035862276" sldId="8135"/>
            <ac:picMk id="19" creationId="{83F58629-0C97-6A31-BC5E-746548926EB1}"/>
          </ac:picMkLst>
        </pc:picChg>
        <pc:picChg chg="add mod">
          <ac:chgData name="CACERES SANDOVAL, EVA MARIA" userId="efa43ab3-f30d-49e0-8bcf-cbcf637d4549" providerId="ADAL" clId="{C6DC3022-C868-473E-8607-1E4341DC0F28}" dt="2024-05-22T19:01:36.651" v="2529" actId="164"/>
          <ac:picMkLst>
            <pc:docMk/>
            <pc:sldMk cId="4035862276" sldId="8135"/>
            <ac:picMk id="21" creationId="{095F616C-A572-E66F-3348-7CFDF6DFE93C}"/>
          </ac:picMkLst>
        </pc:picChg>
        <pc:picChg chg="add mod ord">
          <ac:chgData name="CACERES SANDOVAL, EVA MARIA" userId="efa43ab3-f30d-49e0-8bcf-cbcf637d4549" providerId="ADAL" clId="{C6DC3022-C868-473E-8607-1E4341DC0F28}" dt="2024-05-22T19:01:36.651" v="2529" actId="164"/>
          <ac:picMkLst>
            <pc:docMk/>
            <pc:sldMk cId="4035862276" sldId="8135"/>
            <ac:picMk id="23" creationId="{E29BBABA-4E1D-6CF6-2619-624800491E0A}"/>
          </ac:picMkLst>
        </pc:picChg>
        <pc:picChg chg="add mod ord">
          <ac:chgData name="CACERES SANDOVAL, EVA MARIA" userId="efa43ab3-f30d-49e0-8bcf-cbcf637d4549" providerId="ADAL" clId="{C6DC3022-C868-473E-8607-1E4341DC0F28}" dt="2024-05-22T19:01:36.651" v="2529" actId="164"/>
          <ac:picMkLst>
            <pc:docMk/>
            <pc:sldMk cId="4035862276" sldId="8135"/>
            <ac:picMk id="25" creationId="{3A634DE9-CAD4-CDA3-1922-93ED013358D2}"/>
          </ac:picMkLst>
        </pc:picChg>
        <pc:picChg chg="add mod">
          <ac:chgData name="CACERES SANDOVAL, EVA MARIA" userId="efa43ab3-f30d-49e0-8bcf-cbcf637d4549" providerId="ADAL" clId="{C6DC3022-C868-473E-8607-1E4341DC0F28}" dt="2024-05-22T19:02:29.986" v="2536" actId="732"/>
          <ac:picMkLst>
            <pc:docMk/>
            <pc:sldMk cId="4035862276" sldId="8135"/>
            <ac:picMk id="27" creationId="{B2EDCE08-D79E-2795-7FCC-E23FF58972D8}"/>
          </ac:picMkLst>
        </pc:picChg>
        <pc:picChg chg="mod">
          <ac:chgData name="CACERES SANDOVAL, EVA MARIA" userId="efa43ab3-f30d-49e0-8bcf-cbcf637d4549" providerId="ADAL" clId="{C6DC3022-C868-473E-8607-1E4341DC0F28}" dt="2024-05-22T19:02:35.802" v="2537" actId="732"/>
          <ac:picMkLst>
            <pc:docMk/>
            <pc:sldMk cId="4035862276" sldId="8135"/>
            <ac:picMk id="3074" creationId="{9E8C4EC4-DB1A-D43C-9964-2BD0CB74C9F6}"/>
          </ac:picMkLst>
        </pc:picChg>
        <pc:picChg chg="del mod">
          <ac:chgData name="CACERES SANDOVAL, EVA MARIA" userId="efa43ab3-f30d-49e0-8bcf-cbcf637d4549" providerId="ADAL" clId="{C6DC3022-C868-473E-8607-1E4341DC0F28}" dt="2024-05-24T15:19:04.389" v="2906" actId="478"/>
          <ac:picMkLst>
            <pc:docMk/>
            <pc:sldMk cId="4035862276" sldId="8135"/>
            <ac:picMk id="3076" creationId="{CC475F87-69BB-5218-BCFB-C89908ED60BC}"/>
          </ac:picMkLst>
        </pc:picChg>
      </pc:sldChg>
      <pc:sldChg chg="modSp add mod">
        <pc:chgData name="CACERES SANDOVAL, EVA MARIA" userId="efa43ab3-f30d-49e0-8bcf-cbcf637d4549" providerId="ADAL" clId="{C6DC3022-C868-473E-8607-1E4341DC0F28}" dt="2024-05-21T18:10:41.582" v="2435" actId="20577"/>
        <pc:sldMkLst>
          <pc:docMk/>
          <pc:sldMk cId="1678311024" sldId="8136"/>
        </pc:sldMkLst>
        <pc:spChg chg="mod">
          <ac:chgData name="CACERES SANDOVAL, EVA MARIA" userId="efa43ab3-f30d-49e0-8bcf-cbcf637d4549" providerId="ADAL" clId="{C6DC3022-C868-473E-8607-1E4341DC0F28}" dt="2024-05-21T18:10:41.582" v="2435" actId="20577"/>
          <ac:spMkLst>
            <pc:docMk/>
            <pc:sldMk cId="1678311024" sldId="8136"/>
            <ac:spMk id="2" creationId="{9E35DCEA-11FB-375E-BA08-3B2B59711278}"/>
          </ac:spMkLst>
        </pc:spChg>
      </pc:sldChg>
      <pc:sldChg chg="delSp modSp add mod">
        <pc:chgData name="CACERES SANDOVAL, EVA MARIA" userId="efa43ab3-f30d-49e0-8bcf-cbcf637d4549" providerId="ADAL" clId="{C6DC3022-C868-473E-8607-1E4341DC0F28}" dt="2024-05-21T18:11:22.253" v="2484" actId="1076"/>
        <pc:sldMkLst>
          <pc:docMk/>
          <pc:sldMk cId="1685050724" sldId="8137"/>
        </pc:sldMkLst>
        <pc:spChg chg="mod">
          <ac:chgData name="CACERES SANDOVAL, EVA MARIA" userId="efa43ab3-f30d-49e0-8bcf-cbcf637d4549" providerId="ADAL" clId="{C6DC3022-C868-473E-8607-1E4341DC0F28}" dt="2024-05-21T18:11:22.253" v="2484" actId="1076"/>
          <ac:spMkLst>
            <pc:docMk/>
            <pc:sldMk cId="1685050724" sldId="8137"/>
            <ac:spMk id="2" creationId="{9E35DCEA-11FB-375E-BA08-3B2B59711278}"/>
          </ac:spMkLst>
        </pc:spChg>
        <pc:spChg chg="del">
          <ac:chgData name="CACERES SANDOVAL, EVA MARIA" userId="efa43ab3-f30d-49e0-8bcf-cbcf637d4549" providerId="ADAL" clId="{C6DC3022-C868-473E-8607-1E4341DC0F28}" dt="2024-05-21T18:11:17.177" v="2482" actId="478"/>
          <ac:spMkLst>
            <pc:docMk/>
            <pc:sldMk cId="1685050724" sldId="8137"/>
            <ac:spMk id="4" creationId="{19A7A5CC-C7F1-1A88-CF54-31D5B8150FAD}"/>
          </ac:spMkLst>
        </pc:spChg>
      </pc:sldChg>
      <pc:sldChg chg="modSp add mod">
        <pc:chgData name="CACERES SANDOVAL, EVA MARIA" userId="efa43ab3-f30d-49e0-8bcf-cbcf637d4549" providerId="ADAL" clId="{C6DC3022-C868-473E-8607-1E4341DC0F28}" dt="2024-05-21T18:11:42.393" v="2520" actId="20577"/>
        <pc:sldMkLst>
          <pc:docMk/>
          <pc:sldMk cId="3730763728" sldId="8138"/>
        </pc:sldMkLst>
        <pc:spChg chg="mod">
          <ac:chgData name="CACERES SANDOVAL, EVA MARIA" userId="efa43ab3-f30d-49e0-8bcf-cbcf637d4549" providerId="ADAL" clId="{C6DC3022-C868-473E-8607-1E4341DC0F28}" dt="2024-05-21T18:11:42.393" v="2520" actId="20577"/>
          <ac:spMkLst>
            <pc:docMk/>
            <pc:sldMk cId="3730763728" sldId="8138"/>
            <ac:spMk id="2" creationId="{9E35DCEA-11FB-375E-BA08-3B2B59711278}"/>
          </ac:spMkLst>
        </pc:spChg>
      </pc:sldChg>
      <pc:sldChg chg="addSp delSp modSp add mod">
        <pc:chgData name="CACERES SANDOVAL, EVA MARIA" userId="efa43ab3-f30d-49e0-8bcf-cbcf637d4549" providerId="ADAL" clId="{C6DC3022-C868-473E-8607-1E4341DC0F28}" dt="2024-05-27T13:42:35.219" v="3485" actId="20577"/>
        <pc:sldMkLst>
          <pc:docMk/>
          <pc:sldMk cId="337739276" sldId="8139"/>
        </pc:sldMkLst>
        <pc:spChg chg="mod">
          <ac:chgData name="CACERES SANDOVAL, EVA MARIA" userId="efa43ab3-f30d-49e0-8bcf-cbcf637d4549" providerId="ADAL" clId="{C6DC3022-C868-473E-8607-1E4341DC0F28}" dt="2024-05-23T16:54:18.057" v="2655" actId="20577"/>
          <ac:spMkLst>
            <pc:docMk/>
            <pc:sldMk cId="337739276" sldId="8139"/>
            <ac:spMk id="2" creationId="{D911260F-ED60-62A5-2257-68DDA3BCA723}"/>
          </ac:spMkLst>
        </pc:spChg>
        <pc:spChg chg="add mod">
          <ac:chgData name="CACERES SANDOVAL, EVA MARIA" userId="efa43ab3-f30d-49e0-8bcf-cbcf637d4549" providerId="ADAL" clId="{C6DC3022-C868-473E-8607-1E4341DC0F28}" dt="2024-05-27T13:42:35.219" v="3485" actId="20577"/>
          <ac:spMkLst>
            <pc:docMk/>
            <pc:sldMk cId="337739276" sldId="8139"/>
            <ac:spMk id="3" creationId="{D4EA0171-59E8-2430-1C71-4BA8CA47F476}"/>
          </ac:spMkLst>
        </pc:spChg>
        <pc:spChg chg="mod">
          <ac:chgData name="CACERES SANDOVAL, EVA MARIA" userId="efa43ab3-f30d-49e0-8bcf-cbcf637d4549" providerId="ADAL" clId="{C6DC3022-C868-473E-8607-1E4341DC0F28}" dt="2024-05-24T15:23:28.737" v="2923"/>
          <ac:spMkLst>
            <pc:docMk/>
            <pc:sldMk cId="337739276" sldId="8139"/>
            <ac:spMk id="9" creationId="{880F1251-9487-A28F-21FD-85A1D2A31ACD}"/>
          </ac:spMkLst>
        </pc:spChg>
        <pc:picChg chg="add mod ord">
          <ac:chgData name="CACERES SANDOVAL, EVA MARIA" userId="efa43ab3-f30d-49e0-8bcf-cbcf637d4549" providerId="ADAL" clId="{C6DC3022-C868-473E-8607-1E4341DC0F28}" dt="2024-05-24T15:20:43.009" v="2922" actId="1076"/>
          <ac:picMkLst>
            <pc:docMk/>
            <pc:sldMk cId="337739276" sldId="8139"/>
            <ac:picMk id="5" creationId="{3680FE3C-BAA9-E9AA-638B-455ADEBF457A}"/>
          </ac:picMkLst>
        </pc:picChg>
        <pc:picChg chg="add del mod">
          <ac:chgData name="CACERES SANDOVAL, EVA MARIA" userId="efa43ab3-f30d-49e0-8bcf-cbcf637d4549" providerId="ADAL" clId="{C6DC3022-C868-473E-8607-1E4341DC0F28}" dt="2024-05-23T20:28:52.471" v="2692" actId="478"/>
          <ac:picMkLst>
            <pc:docMk/>
            <pc:sldMk cId="337739276" sldId="8139"/>
            <ac:picMk id="5" creationId="{E69A69C3-F965-AD9A-B6AA-81BA487BECF8}"/>
          </ac:picMkLst>
        </pc:picChg>
        <pc:picChg chg="add mod">
          <ac:chgData name="CACERES SANDOVAL, EVA MARIA" userId="efa43ab3-f30d-49e0-8bcf-cbcf637d4549" providerId="ADAL" clId="{C6DC3022-C868-473E-8607-1E4341DC0F28}" dt="2024-05-24T15:20:41.073" v="2921" actId="14100"/>
          <ac:picMkLst>
            <pc:docMk/>
            <pc:sldMk cId="337739276" sldId="8139"/>
            <ac:picMk id="7" creationId="{8CDC1D37-175C-478F-8CD4-08C35CB1C16D}"/>
          </ac:picMkLst>
        </pc:picChg>
        <pc:picChg chg="del">
          <ac:chgData name="CACERES SANDOVAL, EVA MARIA" userId="efa43ab3-f30d-49e0-8bcf-cbcf637d4549" providerId="ADAL" clId="{C6DC3022-C868-473E-8607-1E4341DC0F28}" dt="2024-05-23T16:54:20.172" v="2656" actId="478"/>
          <ac:picMkLst>
            <pc:docMk/>
            <pc:sldMk cId="337739276" sldId="8139"/>
            <ac:picMk id="10" creationId="{109DD856-49C9-6B93-3B66-37813DE774E0}"/>
          </ac:picMkLst>
        </pc:picChg>
      </pc:sldChg>
      <pc:sldChg chg="addSp delSp modSp add mod">
        <pc:chgData name="CACERES SANDOVAL, EVA MARIA" userId="efa43ab3-f30d-49e0-8bcf-cbcf637d4549" providerId="ADAL" clId="{C6DC3022-C868-473E-8607-1E4341DC0F28}" dt="2024-05-27T13:39:28.351" v="3237" actId="20577"/>
        <pc:sldMkLst>
          <pc:docMk/>
          <pc:sldMk cId="2295889513" sldId="8140"/>
        </pc:sldMkLst>
        <pc:spChg chg="del">
          <ac:chgData name="CACERES SANDOVAL, EVA MARIA" userId="efa43ab3-f30d-49e0-8bcf-cbcf637d4549" providerId="ADAL" clId="{C6DC3022-C868-473E-8607-1E4341DC0F28}" dt="2024-05-27T13:32:25.931" v="3014" actId="21"/>
          <ac:spMkLst>
            <pc:docMk/>
            <pc:sldMk cId="2295889513" sldId="8140"/>
            <ac:spMk id="3" creationId="{6C92EECB-5F7C-A4ED-2230-B3801B9DC324}"/>
          </ac:spMkLst>
        </pc:spChg>
        <pc:spChg chg="add mod">
          <ac:chgData name="CACERES SANDOVAL, EVA MARIA" userId="efa43ab3-f30d-49e0-8bcf-cbcf637d4549" providerId="ADAL" clId="{C6DC3022-C868-473E-8607-1E4341DC0F28}" dt="2024-05-27T13:34:10.345" v="3074" actId="6549"/>
          <ac:spMkLst>
            <pc:docMk/>
            <pc:sldMk cId="2295889513" sldId="8140"/>
            <ac:spMk id="6" creationId="{92F71475-9001-C750-BEAA-5C88FF41F101}"/>
          </ac:spMkLst>
        </pc:spChg>
        <pc:spChg chg="add mod">
          <ac:chgData name="CACERES SANDOVAL, EVA MARIA" userId="efa43ab3-f30d-49e0-8bcf-cbcf637d4549" providerId="ADAL" clId="{C6DC3022-C868-473E-8607-1E4341DC0F28}" dt="2024-05-27T13:35:01.542" v="3186" actId="1076"/>
          <ac:spMkLst>
            <pc:docMk/>
            <pc:sldMk cId="2295889513" sldId="8140"/>
            <ac:spMk id="7" creationId="{5DC03A54-C49D-B7D1-0D5A-76AE2C4C6B10}"/>
          </ac:spMkLst>
        </pc:spChg>
        <pc:spChg chg="add mod">
          <ac:chgData name="CACERES SANDOVAL, EVA MARIA" userId="efa43ab3-f30d-49e0-8bcf-cbcf637d4549" providerId="ADAL" clId="{C6DC3022-C868-473E-8607-1E4341DC0F28}" dt="2024-05-27T13:35:41.826" v="3190" actId="13822"/>
          <ac:spMkLst>
            <pc:docMk/>
            <pc:sldMk cId="2295889513" sldId="8140"/>
            <ac:spMk id="8" creationId="{359C9F10-D299-E7D4-F1ED-15D0B8E9EF39}"/>
          </ac:spMkLst>
        </pc:spChg>
        <pc:spChg chg="add mod">
          <ac:chgData name="CACERES SANDOVAL, EVA MARIA" userId="efa43ab3-f30d-49e0-8bcf-cbcf637d4549" providerId="ADAL" clId="{C6DC3022-C868-473E-8607-1E4341DC0F28}" dt="2024-05-27T13:39:23.549" v="3229" actId="1076"/>
          <ac:spMkLst>
            <pc:docMk/>
            <pc:sldMk cId="2295889513" sldId="8140"/>
            <ac:spMk id="9" creationId="{37228D2B-891F-BDA1-108C-4AAC69BCB50A}"/>
          </ac:spMkLst>
        </pc:spChg>
        <pc:spChg chg="add mod">
          <ac:chgData name="CACERES SANDOVAL, EVA MARIA" userId="efa43ab3-f30d-49e0-8bcf-cbcf637d4549" providerId="ADAL" clId="{C6DC3022-C868-473E-8607-1E4341DC0F28}" dt="2024-05-27T13:39:28.351" v="3237" actId="20577"/>
          <ac:spMkLst>
            <pc:docMk/>
            <pc:sldMk cId="2295889513" sldId="8140"/>
            <ac:spMk id="12" creationId="{5D0D2EB2-5471-0E9A-1077-E87ACE70AF64}"/>
          </ac:spMkLst>
        </pc:spChg>
        <pc:spChg chg="del">
          <ac:chgData name="CACERES SANDOVAL, EVA MARIA" userId="efa43ab3-f30d-49e0-8bcf-cbcf637d4549" providerId="ADAL" clId="{C6DC3022-C868-473E-8607-1E4341DC0F28}" dt="2024-05-27T13:32:35.887" v="3018" actId="478"/>
          <ac:spMkLst>
            <pc:docMk/>
            <pc:sldMk cId="2295889513" sldId="8140"/>
            <ac:spMk id="17" creationId="{2F1D8672-4D91-CDB6-8FFF-8DDBD730B453}"/>
          </ac:spMkLst>
        </pc:spChg>
        <pc:picChg chg="del">
          <ac:chgData name="CACERES SANDOVAL, EVA MARIA" userId="efa43ab3-f30d-49e0-8bcf-cbcf637d4549" providerId="ADAL" clId="{C6DC3022-C868-473E-8607-1E4341DC0F28}" dt="2024-05-27T13:32:28.659" v="3015" actId="478"/>
          <ac:picMkLst>
            <pc:docMk/>
            <pc:sldMk cId="2295889513" sldId="8140"/>
            <ac:picMk id="5" creationId="{353E1655-042C-6893-4B00-4C745212DD70}"/>
          </ac:picMkLst>
        </pc:picChg>
        <pc:picChg chg="del">
          <ac:chgData name="CACERES SANDOVAL, EVA MARIA" userId="efa43ab3-f30d-49e0-8bcf-cbcf637d4549" providerId="ADAL" clId="{C6DC3022-C868-473E-8607-1E4341DC0F28}" dt="2024-05-27T13:32:37.856" v="3019" actId="478"/>
          <ac:picMkLst>
            <pc:docMk/>
            <pc:sldMk cId="2295889513" sldId="8140"/>
            <ac:picMk id="11" creationId="{C4ED754C-E6A1-13E7-5DF6-79F90B0FB746}"/>
          </ac:picMkLst>
        </pc:picChg>
        <pc:picChg chg="mod">
          <ac:chgData name="CACERES SANDOVAL, EVA MARIA" userId="efa43ab3-f30d-49e0-8bcf-cbcf637d4549" providerId="ADAL" clId="{C6DC3022-C868-473E-8607-1E4341DC0F28}" dt="2024-05-27T13:35:02.791" v="3187" actId="1076"/>
          <ac:picMkLst>
            <pc:docMk/>
            <pc:sldMk cId="2295889513" sldId="8140"/>
            <ac:picMk id="1026" creationId="{453CE0D0-8DF5-B187-3D34-C1B2B029A8DA}"/>
          </ac:picMkLst>
        </pc:picChg>
        <pc:picChg chg="add mod">
          <ac:chgData name="CACERES SANDOVAL, EVA MARIA" userId="efa43ab3-f30d-49e0-8bcf-cbcf637d4549" providerId="ADAL" clId="{C6DC3022-C868-473E-8607-1E4341DC0F28}" dt="2024-05-27T13:38:47.028" v="3199" actId="1076"/>
          <ac:picMkLst>
            <pc:docMk/>
            <pc:sldMk cId="2295889513" sldId="8140"/>
            <ac:picMk id="2050" creationId="{9F3541EE-C0A1-A40B-783B-68F1D23B64F2}"/>
          </ac:picMkLst>
        </pc:picChg>
        <pc:cxnChg chg="add mod">
          <ac:chgData name="CACERES SANDOVAL, EVA MARIA" userId="efa43ab3-f30d-49e0-8bcf-cbcf637d4549" providerId="ADAL" clId="{C6DC3022-C868-473E-8607-1E4341DC0F28}" dt="2024-05-27T13:39:23.549" v="3229" actId="1076"/>
          <ac:cxnSpMkLst>
            <pc:docMk/>
            <pc:sldMk cId="2295889513" sldId="8140"/>
            <ac:cxnSpMk id="10" creationId="{72AC4357-33DB-0FE9-5E39-E2D31BEACE62}"/>
          </ac:cxnSpMkLst>
        </pc:cxnChg>
      </pc:sldChg>
      <pc:sldChg chg="addSp delSp modSp add del mod">
        <pc:chgData name="CACERES SANDOVAL, EVA MARIA" userId="efa43ab3-f30d-49e0-8bcf-cbcf637d4549" providerId="ADAL" clId="{C6DC3022-C868-473E-8607-1E4341DC0F28}" dt="2024-05-27T13:42:12.565" v="3476" actId="47"/>
        <pc:sldMkLst>
          <pc:docMk/>
          <pc:sldMk cId="2910982784" sldId="8141"/>
        </pc:sldMkLst>
        <pc:spChg chg="del mod">
          <ac:chgData name="CACERES SANDOVAL, EVA MARIA" userId="efa43ab3-f30d-49e0-8bcf-cbcf637d4549" providerId="ADAL" clId="{C6DC3022-C868-473E-8607-1E4341DC0F28}" dt="2024-05-27T13:41:53.900" v="3468" actId="21"/>
          <ac:spMkLst>
            <pc:docMk/>
            <pc:sldMk cId="2910982784" sldId="8141"/>
            <ac:spMk id="17" creationId="{2F1D8672-4D91-CDB6-8FFF-8DDBD730B453}"/>
          </ac:spMkLst>
        </pc:spChg>
        <pc:picChg chg="add del mod">
          <ac:chgData name="CACERES SANDOVAL, EVA MARIA" userId="efa43ab3-f30d-49e0-8bcf-cbcf637d4549" providerId="ADAL" clId="{C6DC3022-C868-473E-8607-1E4341DC0F28}" dt="2024-05-27T13:42:10.814" v="3475" actId="478"/>
          <ac:picMkLst>
            <pc:docMk/>
            <pc:sldMk cId="2910982784" sldId="8141"/>
            <ac:picMk id="3" creationId="{FEA6279F-E884-37FB-1F76-BEDCFBAAAA1A}"/>
          </ac:picMkLst>
        </pc:picChg>
        <pc:picChg chg="del">
          <ac:chgData name="CACERES SANDOVAL, EVA MARIA" userId="efa43ab3-f30d-49e0-8bcf-cbcf637d4549" providerId="ADAL" clId="{C6DC3022-C868-473E-8607-1E4341DC0F28}" dt="2024-05-27T13:40:14.435" v="3239" actId="478"/>
          <ac:picMkLst>
            <pc:docMk/>
            <pc:sldMk cId="2910982784" sldId="8141"/>
            <ac:picMk id="5" creationId="{353E1655-042C-6893-4B00-4C745212DD70}"/>
          </ac:picMkLst>
        </pc:picChg>
        <pc:picChg chg="del">
          <ac:chgData name="CACERES SANDOVAL, EVA MARIA" userId="efa43ab3-f30d-49e0-8bcf-cbcf637d4549" providerId="ADAL" clId="{C6DC3022-C868-473E-8607-1E4341DC0F28}" dt="2024-05-27T13:40:16.037" v="3240" actId="478"/>
          <ac:picMkLst>
            <pc:docMk/>
            <pc:sldMk cId="2910982784" sldId="8141"/>
            <ac:picMk id="11" creationId="{C4ED754C-E6A1-13E7-5DF6-79F90B0FB746}"/>
          </ac:picMkLst>
        </pc:picChg>
      </pc:sldChg>
      <pc:sldMasterChg chg="delSldLayout">
        <pc:chgData name="CACERES SANDOVAL, EVA MARIA" userId="efa43ab3-f30d-49e0-8bcf-cbcf637d4549" providerId="ADAL" clId="{C6DC3022-C868-473E-8607-1E4341DC0F28}" dt="2024-05-21T15:33:37.450" v="159" actId="47"/>
        <pc:sldMasterMkLst>
          <pc:docMk/>
          <pc:sldMasterMk cId="2530762699" sldId="2147483701"/>
        </pc:sldMasterMkLst>
        <pc:sldLayoutChg chg="del">
          <pc:chgData name="CACERES SANDOVAL, EVA MARIA" userId="efa43ab3-f30d-49e0-8bcf-cbcf637d4549" providerId="ADAL" clId="{C6DC3022-C868-473E-8607-1E4341DC0F28}" dt="2024-05-21T15:30:16.309" v="0" actId="47"/>
          <pc:sldLayoutMkLst>
            <pc:docMk/>
            <pc:sldMasterMk cId="2530762699" sldId="2147483701"/>
            <pc:sldLayoutMk cId="1272049471" sldId="2147483764"/>
          </pc:sldLayoutMkLst>
        </pc:sldLayoutChg>
        <pc:sldLayoutChg chg="del">
          <pc:chgData name="CACERES SANDOVAL, EVA MARIA" userId="efa43ab3-f30d-49e0-8bcf-cbcf637d4549" providerId="ADAL" clId="{C6DC3022-C868-473E-8607-1E4341DC0F28}" dt="2024-05-21T15:33:37.450" v="159" actId="47"/>
          <pc:sldLayoutMkLst>
            <pc:docMk/>
            <pc:sldMasterMk cId="2530762699" sldId="2147483701"/>
            <pc:sldLayoutMk cId="3490643478" sldId="2147483765"/>
          </pc:sldLayoutMkLst>
        </pc:sldLayoutChg>
        <pc:sldLayoutChg chg="del">
          <pc:chgData name="CACERES SANDOVAL, EVA MARIA" userId="efa43ab3-f30d-49e0-8bcf-cbcf637d4549" providerId="ADAL" clId="{C6DC3022-C868-473E-8607-1E4341DC0F28}" dt="2024-05-21T15:33:37.450" v="159" actId="47"/>
          <pc:sldLayoutMkLst>
            <pc:docMk/>
            <pc:sldMasterMk cId="2530762699" sldId="2147483701"/>
            <pc:sldLayoutMk cId="2501439538" sldId="2147483766"/>
          </pc:sldLayoutMkLst>
        </pc:sldLayoutChg>
        <pc:sldLayoutChg chg="del">
          <pc:chgData name="CACERES SANDOVAL, EVA MARIA" userId="efa43ab3-f30d-49e0-8bcf-cbcf637d4549" providerId="ADAL" clId="{C6DC3022-C868-473E-8607-1E4341DC0F28}" dt="2024-05-21T15:33:37.450" v="159" actId="47"/>
          <pc:sldLayoutMkLst>
            <pc:docMk/>
            <pc:sldMasterMk cId="2530762699" sldId="2147483701"/>
            <pc:sldLayoutMk cId="260069792" sldId="2147483767"/>
          </pc:sldLayoutMkLst>
        </pc:sldLayoutChg>
        <pc:sldLayoutChg chg="del">
          <pc:chgData name="CACERES SANDOVAL, EVA MARIA" userId="efa43ab3-f30d-49e0-8bcf-cbcf637d4549" providerId="ADAL" clId="{C6DC3022-C868-473E-8607-1E4341DC0F28}" dt="2024-05-21T15:33:37.450" v="159" actId="47"/>
          <pc:sldLayoutMkLst>
            <pc:docMk/>
            <pc:sldMasterMk cId="2530762699" sldId="2147483701"/>
            <pc:sldLayoutMk cId="4155858654" sldId="2147483768"/>
          </pc:sldLayoutMkLst>
        </pc:sldLayoutChg>
        <pc:sldLayoutChg chg="del">
          <pc:chgData name="CACERES SANDOVAL, EVA MARIA" userId="efa43ab3-f30d-49e0-8bcf-cbcf637d4549" providerId="ADAL" clId="{C6DC3022-C868-473E-8607-1E4341DC0F28}" dt="2024-05-21T15:33:37.450" v="159" actId="47"/>
          <pc:sldLayoutMkLst>
            <pc:docMk/>
            <pc:sldMasterMk cId="2530762699" sldId="2147483701"/>
            <pc:sldLayoutMk cId="1843572052" sldId="2147483770"/>
          </pc:sldLayoutMkLst>
        </pc:sldLayoutChg>
      </pc:sldMasterChg>
    </pc:docChg>
  </pc:docChgLst>
  <pc:docChgLst>
    <pc:chgData name="CACERES SANDOVAL, EVA MARIA" userId="efa43ab3-f30d-49e0-8bcf-cbcf637d4549" providerId="ADAL" clId="{4E712592-0C39-4DDE-8B68-57BC30629A0C}"/>
    <pc:docChg chg="custSel addSld delSld modSld">
      <pc:chgData name="CACERES SANDOVAL, EVA MARIA" userId="efa43ab3-f30d-49e0-8bcf-cbcf637d4549" providerId="ADAL" clId="{4E712592-0C39-4DDE-8B68-57BC30629A0C}" dt="2024-05-14T20:10:31.515" v="171" actId="47"/>
      <pc:docMkLst>
        <pc:docMk/>
      </pc:docMkLst>
      <pc:sldChg chg="add del">
        <pc:chgData name="CACERES SANDOVAL, EVA MARIA" userId="efa43ab3-f30d-49e0-8bcf-cbcf637d4549" providerId="ADAL" clId="{4E712592-0C39-4DDE-8B68-57BC30629A0C}" dt="2024-05-14T20:10:27.327" v="170"/>
        <pc:sldMkLst>
          <pc:docMk/>
          <pc:sldMk cId="3552216212" sldId="256"/>
        </pc:sldMkLst>
      </pc:sldChg>
      <pc:sldChg chg="modSp mod">
        <pc:chgData name="CACERES SANDOVAL, EVA MARIA" userId="efa43ab3-f30d-49e0-8bcf-cbcf637d4549" providerId="ADAL" clId="{4E712592-0C39-4DDE-8B68-57BC30629A0C}" dt="2024-05-07T15:57:30.487" v="131" actId="20577"/>
        <pc:sldMkLst>
          <pc:docMk/>
          <pc:sldMk cId="2739722213" sldId="257"/>
        </pc:sldMkLst>
        <pc:spChg chg="mod">
          <ac:chgData name="CACERES SANDOVAL, EVA MARIA" userId="efa43ab3-f30d-49e0-8bcf-cbcf637d4549" providerId="ADAL" clId="{4E712592-0C39-4DDE-8B68-57BC30629A0C}" dt="2024-05-07T15:57:30.487" v="131" actId="20577"/>
          <ac:spMkLst>
            <pc:docMk/>
            <pc:sldMk cId="2739722213" sldId="257"/>
            <ac:spMk id="2" creationId="{86E42F24-2B50-450C-B8D4-569FA409148F}"/>
          </ac:spMkLst>
        </pc:spChg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0" sldId="258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943600876" sldId="270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286704298" sldId="285"/>
        </pc:sldMkLst>
      </pc:sldChg>
      <pc:sldChg chg="addSp delSp modSp del mod">
        <pc:chgData name="CACERES SANDOVAL, EVA MARIA" userId="efa43ab3-f30d-49e0-8bcf-cbcf637d4549" providerId="ADAL" clId="{4E712592-0C39-4DDE-8B68-57BC30629A0C}" dt="2024-05-14T20:10:31.515" v="171" actId="47"/>
        <pc:sldMkLst>
          <pc:docMk/>
          <pc:sldMk cId="487296857" sldId="289"/>
        </pc:sldMkLst>
        <pc:spChg chg="mod">
          <ac:chgData name="CACERES SANDOVAL, EVA MARIA" userId="efa43ab3-f30d-49e0-8bcf-cbcf637d4549" providerId="ADAL" clId="{4E712592-0C39-4DDE-8B68-57BC30629A0C}" dt="2024-05-07T15:56:58.150" v="61" actId="20577"/>
          <ac:spMkLst>
            <pc:docMk/>
            <pc:sldMk cId="487296857" sldId="289"/>
            <ac:spMk id="5" creationId="{A4C1D361-81C2-1FD0-0F8C-2477F245E3B2}"/>
          </ac:spMkLst>
        </pc:spChg>
        <pc:spChg chg="del">
          <ac:chgData name="CACERES SANDOVAL, EVA MARIA" userId="efa43ab3-f30d-49e0-8bcf-cbcf637d4549" providerId="ADAL" clId="{4E712592-0C39-4DDE-8B68-57BC30629A0C}" dt="2024-05-07T15:53:43.408" v="0" actId="478"/>
          <ac:spMkLst>
            <pc:docMk/>
            <pc:sldMk cId="487296857" sldId="289"/>
            <ac:spMk id="6" creationId="{66AD644A-77D9-47B3-1704-866013A5E0C1}"/>
          </ac:spMkLst>
        </pc:spChg>
        <pc:spChg chg="add del">
          <ac:chgData name="CACERES SANDOVAL, EVA MARIA" userId="efa43ab3-f30d-49e0-8bcf-cbcf637d4549" providerId="ADAL" clId="{4E712592-0C39-4DDE-8B68-57BC30629A0C}" dt="2024-05-07T16:22:47.062" v="160" actId="478"/>
          <ac:spMkLst>
            <pc:docMk/>
            <pc:sldMk cId="487296857" sldId="289"/>
            <ac:spMk id="8" creationId="{C5215887-2618-B25A-3AFD-CCE2B3E8393A}"/>
          </ac:spMkLst>
        </pc:spChg>
        <pc:spChg chg="add del mod">
          <ac:chgData name="CACERES SANDOVAL, EVA MARIA" userId="efa43ab3-f30d-49e0-8bcf-cbcf637d4549" providerId="ADAL" clId="{4E712592-0C39-4DDE-8B68-57BC30629A0C}" dt="2024-05-07T16:22:47.915" v="161" actId="478"/>
          <ac:spMkLst>
            <pc:docMk/>
            <pc:sldMk cId="487296857" sldId="289"/>
            <ac:spMk id="9" creationId="{F3A96504-48CD-FFE8-F7C2-2E64B7DACAFC}"/>
          </ac:spMkLst>
        </pc:spChg>
        <pc:spChg chg="add del mod">
          <ac:chgData name="CACERES SANDOVAL, EVA MARIA" userId="efa43ab3-f30d-49e0-8bcf-cbcf637d4549" providerId="ADAL" clId="{4E712592-0C39-4DDE-8B68-57BC30629A0C}" dt="2024-05-07T16:22:49.050" v="162" actId="478"/>
          <ac:spMkLst>
            <pc:docMk/>
            <pc:sldMk cId="487296857" sldId="289"/>
            <ac:spMk id="10" creationId="{4039C8E1-4102-58D1-E04F-4F3F3BD5B289}"/>
          </ac:spMkLst>
        </pc:spChg>
        <pc:spChg chg="add del mod">
          <ac:chgData name="CACERES SANDOVAL, EVA MARIA" userId="efa43ab3-f30d-49e0-8bcf-cbcf637d4549" providerId="ADAL" clId="{4E712592-0C39-4DDE-8B68-57BC30629A0C}" dt="2024-05-07T16:22:50.062" v="163" actId="478"/>
          <ac:spMkLst>
            <pc:docMk/>
            <pc:sldMk cId="487296857" sldId="289"/>
            <ac:spMk id="11" creationId="{30FFFEF0-601A-CD6C-2683-A5B4CA4C6C8F}"/>
          </ac:spMkLst>
        </pc:spChg>
        <pc:spChg chg="add del mod">
          <ac:chgData name="CACERES SANDOVAL, EVA MARIA" userId="efa43ab3-f30d-49e0-8bcf-cbcf637d4549" providerId="ADAL" clId="{4E712592-0C39-4DDE-8B68-57BC30629A0C}" dt="2024-05-07T16:22:50.604" v="164" actId="478"/>
          <ac:spMkLst>
            <pc:docMk/>
            <pc:sldMk cId="487296857" sldId="289"/>
            <ac:spMk id="12" creationId="{8E4FBA65-C34D-1108-451E-3889B44E97F5}"/>
          </ac:spMkLst>
        </pc:spChg>
        <pc:graphicFrameChg chg="add mod">
          <ac:chgData name="CACERES SANDOVAL, EVA MARIA" userId="efa43ab3-f30d-49e0-8bcf-cbcf637d4549" providerId="ADAL" clId="{4E712592-0C39-4DDE-8B68-57BC30629A0C}" dt="2024-05-07T16:26:19.768" v="167"/>
          <ac:graphicFrameMkLst>
            <pc:docMk/>
            <pc:sldMk cId="487296857" sldId="289"/>
            <ac:graphicFrameMk id="2" creationId="{0E6DA64F-28D6-030E-4E27-FE9CF06A8AD3}"/>
          </ac:graphicFrameMkLst>
        </pc:graphicFrameChg>
        <pc:graphicFrameChg chg="add del mod">
          <ac:chgData name="CACERES SANDOVAL, EVA MARIA" userId="efa43ab3-f30d-49e0-8bcf-cbcf637d4549" providerId="ADAL" clId="{4E712592-0C39-4DDE-8B68-57BC30629A0C}" dt="2024-05-07T15:53:45.626" v="2"/>
          <ac:graphicFrameMkLst>
            <pc:docMk/>
            <pc:sldMk cId="487296857" sldId="289"/>
            <ac:graphicFrameMk id="2" creationId="{F968A3A2-9C1F-A27A-94B5-B52ACE8AD9F9}"/>
          </ac:graphicFrameMkLst>
        </pc:graphicFrameChg>
        <pc:graphicFrameChg chg="add del mod">
          <ac:chgData name="CACERES SANDOVAL, EVA MARIA" userId="efa43ab3-f30d-49e0-8bcf-cbcf637d4549" providerId="ADAL" clId="{4E712592-0C39-4DDE-8B68-57BC30629A0C}" dt="2024-05-07T15:54:26.411" v="6" actId="478"/>
          <ac:graphicFrameMkLst>
            <pc:docMk/>
            <pc:sldMk cId="487296857" sldId="289"/>
            <ac:graphicFrameMk id="4" creationId="{37327B05-E6E7-E974-B566-10D9EC9046E7}"/>
          </ac:graphicFrameMkLst>
        </pc:graphicFrameChg>
        <pc:graphicFrameChg chg="add del mod modGraphic">
          <ac:chgData name="CACERES SANDOVAL, EVA MARIA" userId="efa43ab3-f30d-49e0-8bcf-cbcf637d4549" providerId="ADAL" clId="{4E712592-0C39-4DDE-8B68-57BC30629A0C}" dt="2024-05-07T16:26:16.127" v="166" actId="478"/>
          <ac:graphicFrameMkLst>
            <pc:docMk/>
            <pc:sldMk cId="487296857" sldId="289"/>
            <ac:graphicFrameMk id="7" creationId="{4E7B9E25-2655-4CFC-067D-1BB94C825240}"/>
          </ac:graphicFrameMkLst>
        </pc:graphicFrameChg>
        <pc:picChg chg="add del">
          <ac:chgData name="CACERES SANDOVAL, EVA MARIA" userId="efa43ab3-f30d-49e0-8bcf-cbcf637d4549" providerId="ADAL" clId="{4E712592-0C39-4DDE-8B68-57BC30629A0C}" dt="2024-05-07T15:53:50.014" v="4" actId="478"/>
          <ac:picMkLst>
            <pc:docMk/>
            <pc:sldMk cId="487296857" sldId="289"/>
            <ac:picMk id="3" creationId="{9F33695F-9D17-1856-A0EA-21A1186C7A82}"/>
          </ac:picMkLst>
        </pc:picChg>
      </pc:sldChg>
      <pc:sldChg chg="del">
        <pc:chgData name="CACERES SANDOVAL, EVA MARIA" userId="efa43ab3-f30d-49e0-8bcf-cbcf637d4549" providerId="ADAL" clId="{4E712592-0C39-4DDE-8B68-57BC30629A0C}" dt="2024-05-07T15:57:26.511" v="123" actId="47"/>
        <pc:sldMkLst>
          <pc:docMk/>
          <pc:sldMk cId="2008396866" sldId="291"/>
        </pc:sldMkLst>
      </pc:sldChg>
      <pc:sldChg chg="del">
        <pc:chgData name="CACERES SANDOVAL, EVA MARIA" userId="efa43ab3-f30d-49e0-8bcf-cbcf637d4549" providerId="ADAL" clId="{4E712592-0C39-4DDE-8B68-57BC30629A0C}" dt="2024-05-07T15:57:27.986" v="124" actId="47"/>
        <pc:sldMkLst>
          <pc:docMk/>
          <pc:sldMk cId="4055098130" sldId="292"/>
        </pc:sldMkLst>
      </pc:sldChg>
      <pc:sldChg chg="del">
        <pc:chgData name="CACERES SANDOVAL, EVA MARIA" userId="efa43ab3-f30d-49e0-8bcf-cbcf637d4549" providerId="ADAL" clId="{4E712592-0C39-4DDE-8B68-57BC30629A0C}" dt="2024-05-07T15:57:24.955" v="122" actId="47"/>
        <pc:sldMkLst>
          <pc:docMk/>
          <pc:sldMk cId="1505568778" sldId="293"/>
        </pc:sldMkLst>
      </pc:sldChg>
      <pc:sldChg chg="delSp modSp mod">
        <pc:chgData name="CACERES SANDOVAL, EVA MARIA" userId="efa43ab3-f30d-49e0-8bcf-cbcf637d4549" providerId="ADAL" clId="{4E712592-0C39-4DDE-8B68-57BC30629A0C}" dt="2024-05-07T15:57:20.279" v="121" actId="20577"/>
        <pc:sldMkLst>
          <pc:docMk/>
          <pc:sldMk cId="1911634418" sldId="294"/>
        </pc:sldMkLst>
        <pc:spChg chg="mod">
          <ac:chgData name="CACERES SANDOVAL, EVA MARIA" userId="efa43ab3-f30d-49e0-8bcf-cbcf637d4549" providerId="ADAL" clId="{4E712592-0C39-4DDE-8B68-57BC30629A0C}" dt="2024-05-07T15:57:09.477" v="105" actId="20577"/>
          <ac:spMkLst>
            <pc:docMk/>
            <pc:sldMk cId="1911634418" sldId="294"/>
            <ac:spMk id="2" creationId="{9E35DCEA-11FB-375E-BA08-3B2B59711278}"/>
          </ac:spMkLst>
        </pc:spChg>
        <pc:spChg chg="del">
          <ac:chgData name="CACERES SANDOVAL, EVA MARIA" userId="efa43ab3-f30d-49e0-8bcf-cbcf637d4549" providerId="ADAL" clId="{4E712592-0C39-4DDE-8B68-57BC30629A0C}" dt="2024-05-07T15:57:13.383" v="106" actId="478"/>
          <ac:spMkLst>
            <pc:docMk/>
            <pc:sldMk cId="1911634418" sldId="294"/>
            <ac:spMk id="3" creationId="{25B5B806-4657-2617-F2DB-11EB0FBF2980}"/>
          </ac:spMkLst>
        </pc:spChg>
        <pc:spChg chg="mod">
          <ac:chgData name="CACERES SANDOVAL, EVA MARIA" userId="efa43ab3-f30d-49e0-8bcf-cbcf637d4549" providerId="ADAL" clId="{4E712592-0C39-4DDE-8B68-57BC30629A0C}" dt="2024-05-07T15:57:20.279" v="121" actId="20577"/>
          <ac:spMkLst>
            <pc:docMk/>
            <pc:sldMk cId="1911634418" sldId="294"/>
            <ac:spMk id="4" creationId="{19A7A5CC-C7F1-1A88-CF54-31D5B8150FAD}"/>
          </ac:spMkLst>
        </pc:spChg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080095354" sldId="321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173559739" sldId="322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06896717" sldId="323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974186335" sldId="337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931910032" sldId="338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391939069" sldId="342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068304750" sldId="4080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4078335500" sldId="4121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609611502" sldId="4124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493633827" sldId="4126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391351729" sldId="4133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185128486" sldId="4134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543309772" sldId="6777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149321003" sldId="6778"/>
        </pc:sldMkLst>
      </pc:sldChg>
      <pc:sldChg chg="add del">
        <pc:chgData name="CACERES SANDOVAL, EVA MARIA" userId="efa43ab3-f30d-49e0-8bcf-cbcf637d4549" providerId="ADAL" clId="{4E712592-0C39-4DDE-8B68-57BC30629A0C}" dt="2024-05-14T20:10:27.327" v="170"/>
        <pc:sldMkLst>
          <pc:docMk/>
          <pc:sldMk cId="3909832258" sldId="6786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196945772" sldId="6790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546688620" sldId="6806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82639941" sldId="6823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109693794" sldId="6824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106983411" sldId="6826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453518329" sldId="6828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004994322" sldId="6831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73515290" sldId="6832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757193118" sldId="6833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626777162" sldId="6834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146841221" sldId="6835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769415539" sldId="6836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212331134" sldId="6837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476010087" sldId="6838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4068326032" sldId="6839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773199709" sldId="6840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909895322" sldId="8122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868708376" sldId="8124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013133411" sldId="8126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702247926" sldId="8127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82191403" sldId="8128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2382528063" sldId="8129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370683655" sldId="8130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3605014265" sldId="8131"/>
        </pc:sldMkLst>
      </pc:sldChg>
      <pc:sldChg chg="add">
        <pc:chgData name="CACERES SANDOVAL, EVA MARIA" userId="efa43ab3-f30d-49e0-8bcf-cbcf637d4549" providerId="ADAL" clId="{4E712592-0C39-4DDE-8B68-57BC30629A0C}" dt="2024-05-14T20:10:27.327" v="170"/>
        <pc:sldMkLst>
          <pc:docMk/>
          <pc:sldMk cId="1182528563" sldId="8132"/>
        </pc:sldMkLst>
      </pc:sldChg>
    </pc:docChg>
  </pc:docChgLst>
  <pc:docChgLst>
    <pc:chgData name="CACERES SANDOVAL, EVA MARIA" userId="efa43ab3-f30d-49e0-8bcf-cbcf637d4549" providerId="ADAL" clId="{6A330D84-F627-4444-B263-40F0F2DBEFBD}"/>
    <pc:docChg chg="custSel modSld">
      <pc:chgData name="CACERES SANDOVAL, EVA MARIA" userId="efa43ab3-f30d-49e0-8bcf-cbcf637d4549" providerId="ADAL" clId="{6A330D84-F627-4444-B263-40F0F2DBEFBD}" dt="2025-01-15T19:47:13.309" v="192" actId="114"/>
      <pc:docMkLst>
        <pc:docMk/>
      </pc:docMkLst>
      <pc:sldChg chg="addSp delSp modSp mod">
        <pc:chgData name="CACERES SANDOVAL, EVA MARIA" userId="efa43ab3-f30d-49e0-8bcf-cbcf637d4549" providerId="ADAL" clId="{6A330D84-F627-4444-B263-40F0F2DBEFBD}" dt="2025-01-15T16:34:06.672" v="112" actId="208"/>
        <pc:sldMkLst>
          <pc:docMk/>
          <pc:sldMk cId="3697566562" sldId="278"/>
        </pc:sldMkLst>
        <pc:spChg chg="mod">
          <ac:chgData name="CACERES SANDOVAL, EVA MARIA" userId="efa43ab3-f30d-49e0-8bcf-cbcf637d4549" providerId="ADAL" clId="{6A330D84-F627-4444-B263-40F0F2DBEFBD}" dt="2025-01-15T16:30:29.324" v="55" actId="20577"/>
          <ac:spMkLst>
            <pc:docMk/>
            <pc:sldMk cId="3697566562" sldId="278"/>
            <ac:spMk id="3" creationId="{A74000BB-01C3-44BA-816C-04CA7BEBCF72}"/>
          </ac:spMkLst>
        </pc:spChg>
        <pc:spChg chg="mod">
          <ac:chgData name="CACERES SANDOVAL, EVA MARIA" userId="efa43ab3-f30d-49e0-8bcf-cbcf637d4549" providerId="ADAL" clId="{6A330D84-F627-4444-B263-40F0F2DBEFBD}" dt="2025-01-15T16:33:42.544" v="106" actId="1038"/>
          <ac:spMkLst>
            <pc:docMk/>
            <pc:sldMk cId="3697566562" sldId="278"/>
            <ac:spMk id="6" creationId="{6C1E2C2E-24E6-2DB4-39F5-CB11C3842301}"/>
          </ac:spMkLst>
        </pc:spChg>
        <pc:spChg chg="del mod">
          <ac:chgData name="CACERES SANDOVAL, EVA MARIA" userId="efa43ab3-f30d-49e0-8bcf-cbcf637d4549" providerId="ADAL" clId="{6A330D84-F627-4444-B263-40F0F2DBEFBD}" dt="2025-01-15T16:33:30.919" v="81" actId="478"/>
          <ac:spMkLst>
            <pc:docMk/>
            <pc:sldMk cId="3697566562" sldId="278"/>
            <ac:spMk id="8" creationId="{0C15AD5F-2605-F10F-A40A-B2DCE140072D}"/>
          </ac:spMkLst>
        </pc:spChg>
        <pc:spChg chg="mod">
          <ac:chgData name="CACERES SANDOVAL, EVA MARIA" userId="efa43ab3-f30d-49e0-8bcf-cbcf637d4549" providerId="ADAL" clId="{6A330D84-F627-4444-B263-40F0F2DBEFBD}" dt="2025-01-15T16:33:59.465" v="111" actId="1037"/>
          <ac:spMkLst>
            <pc:docMk/>
            <pc:sldMk cId="3697566562" sldId="278"/>
            <ac:spMk id="11" creationId="{DB2AFE03-F3DA-ED5E-0F58-FB1B85F2393B}"/>
          </ac:spMkLst>
        </pc:spChg>
        <pc:spChg chg="mod">
          <ac:chgData name="CACERES SANDOVAL, EVA MARIA" userId="efa43ab3-f30d-49e0-8bcf-cbcf637d4549" providerId="ADAL" clId="{6A330D84-F627-4444-B263-40F0F2DBEFBD}" dt="2025-01-15T16:33:26.809" v="80" actId="1037"/>
          <ac:spMkLst>
            <pc:docMk/>
            <pc:sldMk cId="3697566562" sldId="278"/>
            <ac:spMk id="12" creationId="{2A5F4AE4-3F90-D5B0-F07F-FF52C44102BB}"/>
          </ac:spMkLst>
        </pc:spChg>
        <pc:spChg chg="mod">
          <ac:chgData name="CACERES SANDOVAL, EVA MARIA" userId="efa43ab3-f30d-49e0-8bcf-cbcf637d4549" providerId="ADAL" clId="{6A330D84-F627-4444-B263-40F0F2DBEFBD}" dt="2025-01-15T16:33:38.203" v="96" actId="1038"/>
          <ac:spMkLst>
            <pc:docMk/>
            <pc:sldMk cId="3697566562" sldId="278"/>
            <ac:spMk id="13" creationId="{C8A49855-0EE7-D7DF-868F-8404FC0A1B83}"/>
          </ac:spMkLst>
        </pc:spChg>
        <pc:picChg chg="del">
          <ac:chgData name="CACERES SANDOVAL, EVA MARIA" userId="efa43ab3-f30d-49e0-8bcf-cbcf637d4549" providerId="ADAL" clId="{6A330D84-F627-4444-B263-40F0F2DBEFBD}" dt="2025-01-15T16:30:37.750" v="56" actId="478"/>
          <ac:picMkLst>
            <pc:docMk/>
            <pc:sldMk cId="3697566562" sldId="278"/>
            <ac:picMk id="5" creationId="{93C84370-A5B6-27F6-2289-75A9510A33EE}"/>
          </ac:picMkLst>
        </pc:picChg>
        <pc:picChg chg="add mod ord">
          <ac:chgData name="CACERES SANDOVAL, EVA MARIA" userId="efa43ab3-f30d-49e0-8bcf-cbcf637d4549" providerId="ADAL" clId="{6A330D84-F627-4444-B263-40F0F2DBEFBD}" dt="2025-01-15T16:34:06.672" v="112" actId="208"/>
          <ac:picMkLst>
            <pc:docMk/>
            <pc:sldMk cId="3697566562" sldId="278"/>
            <ac:picMk id="7" creationId="{C58F4497-DB4E-40DF-B3CA-D01A407AD69D}"/>
          </ac:picMkLst>
        </pc:picChg>
      </pc:sldChg>
      <pc:sldChg chg="modSp mod">
        <pc:chgData name="CACERES SANDOVAL, EVA MARIA" userId="efa43ab3-f30d-49e0-8bcf-cbcf637d4549" providerId="ADAL" clId="{6A330D84-F627-4444-B263-40F0F2DBEFBD}" dt="2025-01-15T16:30:11.804" v="35" actId="20577"/>
        <pc:sldMkLst>
          <pc:docMk/>
          <pc:sldMk cId="1911634418" sldId="294"/>
        </pc:sldMkLst>
        <pc:spChg chg="mod">
          <ac:chgData name="CACERES SANDOVAL, EVA MARIA" userId="efa43ab3-f30d-49e0-8bcf-cbcf637d4549" providerId="ADAL" clId="{6A330D84-F627-4444-B263-40F0F2DBEFBD}" dt="2025-01-15T16:25:01.957" v="24" actId="20577"/>
          <ac:spMkLst>
            <pc:docMk/>
            <pc:sldMk cId="1911634418" sldId="294"/>
            <ac:spMk id="2" creationId="{9E35DCEA-11FB-375E-BA08-3B2B59711278}"/>
          </ac:spMkLst>
        </pc:spChg>
        <pc:spChg chg="mod">
          <ac:chgData name="CACERES SANDOVAL, EVA MARIA" userId="efa43ab3-f30d-49e0-8bcf-cbcf637d4549" providerId="ADAL" clId="{6A330D84-F627-4444-B263-40F0F2DBEFBD}" dt="2025-01-15T16:30:11.804" v="35" actId="20577"/>
          <ac:spMkLst>
            <pc:docMk/>
            <pc:sldMk cId="1911634418" sldId="294"/>
            <ac:spMk id="4" creationId="{19A7A5CC-C7F1-1A88-CF54-31D5B8150FAD}"/>
          </ac:spMkLst>
        </pc:spChg>
      </pc:sldChg>
      <pc:sldChg chg="addSp delSp modSp mod">
        <pc:chgData name="CACERES SANDOVAL, EVA MARIA" userId="efa43ab3-f30d-49e0-8bcf-cbcf637d4549" providerId="ADAL" clId="{6A330D84-F627-4444-B263-40F0F2DBEFBD}" dt="2025-01-15T16:53:18.468" v="162" actId="478"/>
        <pc:sldMkLst>
          <pc:docMk/>
          <pc:sldMk cId="431565556" sldId="931"/>
        </pc:sldMkLst>
        <pc:spChg chg="mod">
          <ac:chgData name="CACERES SANDOVAL, EVA MARIA" userId="efa43ab3-f30d-49e0-8bcf-cbcf637d4549" providerId="ADAL" clId="{6A330D84-F627-4444-B263-40F0F2DBEFBD}" dt="2025-01-15T16:49:16.421" v="157" actId="1076"/>
          <ac:spMkLst>
            <pc:docMk/>
            <pc:sldMk cId="431565556" sldId="931"/>
            <ac:spMk id="17" creationId="{2F1D8672-4D91-CDB6-8FFF-8DDBD730B453}"/>
          </ac:spMkLst>
        </pc:spChg>
        <pc:picChg chg="del">
          <ac:chgData name="CACERES SANDOVAL, EVA MARIA" userId="efa43ab3-f30d-49e0-8bcf-cbcf637d4549" providerId="ADAL" clId="{6A330D84-F627-4444-B263-40F0F2DBEFBD}" dt="2025-01-15T16:48:54.115" v="147" actId="478"/>
          <ac:picMkLst>
            <pc:docMk/>
            <pc:sldMk cId="431565556" sldId="931"/>
            <ac:picMk id="5" creationId="{353E1655-042C-6893-4B00-4C745212DD70}"/>
          </ac:picMkLst>
        </pc:picChg>
        <pc:picChg chg="add mod">
          <ac:chgData name="CACERES SANDOVAL, EVA MARIA" userId="efa43ab3-f30d-49e0-8bcf-cbcf637d4549" providerId="ADAL" clId="{6A330D84-F627-4444-B263-40F0F2DBEFBD}" dt="2025-01-15T16:49:07.574" v="155" actId="1076"/>
          <ac:picMkLst>
            <pc:docMk/>
            <pc:sldMk cId="431565556" sldId="931"/>
            <ac:picMk id="6" creationId="{67879C21-D249-CB69-D5AC-39D3CDC49981}"/>
          </ac:picMkLst>
        </pc:picChg>
        <pc:picChg chg="del mod">
          <ac:chgData name="CACERES SANDOVAL, EVA MARIA" userId="efa43ab3-f30d-49e0-8bcf-cbcf637d4549" providerId="ADAL" clId="{6A330D84-F627-4444-B263-40F0F2DBEFBD}" dt="2025-01-15T16:53:18.468" v="162" actId="478"/>
          <ac:picMkLst>
            <pc:docMk/>
            <pc:sldMk cId="431565556" sldId="931"/>
            <ac:picMk id="11" creationId="{C4ED754C-E6A1-13E7-5DF6-79F90B0FB746}"/>
          </ac:picMkLst>
        </pc:picChg>
      </pc:sldChg>
      <pc:sldChg chg="modSp mod">
        <pc:chgData name="CACERES SANDOVAL, EVA MARIA" userId="efa43ab3-f30d-49e0-8bcf-cbcf637d4549" providerId="ADAL" clId="{6A330D84-F627-4444-B263-40F0F2DBEFBD}" dt="2025-01-15T19:47:13.309" v="192" actId="114"/>
        <pc:sldMkLst>
          <pc:docMk/>
          <pc:sldMk cId="915978399" sldId="935"/>
        </pc:sldMkLst>
        <pc:spChg chg="mod">
          <ac:chgData name="CACERES SANDOVAL, EVA MARIA" userId="efa43ab3-f30d-49e0-8bcf-cbcf637d4549" providerId="ADAL" clId="{6A330D84-F627-4444-B263-40F0F2DBEFBD}" dt="2025-01-15T19:47:13.309" v="192" actId="114"/>
          <ac:spMkLst>
            <pc:docMk/>
            <pc:sldMk cId="915978399" sldId="935"/>
            <ac:spMk id="3" creationId="{DDC1E40E-29AE-B484-AD90-81E70EF536C7}"/>
          </ac:spMkLst>
        </pc:spChg>
        <pc:spChg chg="mod">
          <ac:chgData name="CACERES SANDOVAL, EVA MARIA" userId="efa43ab3-f30d-49e0-8bcf-cbcf637d4549" providerId="ADAL" clId="{6A330D84-F627-4444-B263-40F0F2DBEFBD}" dt="2025-01-15T16:47:13.110" v="125" actId="207"/>
          <ac:spMkLst>
            <pc:docMk/>
            <pc:sldMk cId="915978399" sldId="935"/>
            <ac:spMk id="10" creationId="{7F56BBAB-7B32-5F91-896F-33F06B98BD7F}"/>
          </ac:spMkLst>
        </pc:spChg>
      </pc:sldChg>
      <pc:sldChg chg="delSp mod">
        <pc:chgData name="CACERES SANDOVAL, EVA MARIA" userId="efa43ab3-f30d-49e0-8bcf-cbcf637d4549" providerId="ADAL" clId="{6A330D84-F627-4444-B263-40F0F2DBEFBD}" dt="2025-01-15T16:46:35.802" v="123" actId="478"/>
        <pc:sldMkLst>
          <pc:docMk/>
          <pc:sldMk cId="4091519663" sldId="8132"/>
        </pc:sldMkLst>
        <pc:picChg chg="del">
          <ac:chgData name="CACERES SANDOVAL, EVA MARIA" userId="efa43ab3-f30d-49e0-8bcf-cbcf637d4549" providerId="ADAL" clId="{6A330D84-F627-4444-B263-40F0F2DBEFBD}" dt="2025-01-15T16:46:35.802" v="123" actId="478"/>
          <ac:picMkLst>
            <pc:docMk/>
            <pc:sldMk cId="4091519663" sldId="8132"/>
            <ac:picMk id="3" creationId="{84C3DAD1-4D89-F3C0-89FD-5F95ADF5F7CD}"/>
          </ac:picMkLst>
        </pc:picChg>
      </pc:sldChg>
      <pc:sldChg chg="modSp mod">
        <pc:chgData name="CACERES SANDOVAL, EVA MARIA" userId="efa43ab3-f30d-49e0-8bcf-cbcf637d4549" providerId="ADAL" clId="{6A330D84-F627-4444-B263-40F0F2DBEFBD}" dt="2025-01-15T16:46:31.678" v="122" actId="20577"/>
        <pc:sldMkLst>
          <pc:docMk/>
          <pc:sldMk cId="1678311024" sldId="8136"/>
        </pc:sldMkLst>
        <pc:spChg chg="mod">
          <ac:chgData name="CACERES SANDOVAL, EVA MARIA" userId="efa43ab3-f30d-49e0-8bcf-cbcf637d4549" providerId="ADAL" clId="{6A330D84-F627-4444-B263-40F0F2DBEFBD}" dt="2025-01-15T16:46:31.678" v="122" actId="20577"/>
          <ac:spMkLst>
            <pc:docMk/>
            <pc:sldMk cId="1678311024" sldId="8136"/>
            <ac:spMk id="4" creationId="{19A7A5CC-C7F1-1A88-CF54-31D5B8150FAD}"/>
          </ac:spMkLst>
        </pc:spChg>
      </pc:sldChg>
      <pc:sldChg chg="modSp mod">
        <pc:chgData name="CACERES SANDOVAL, EVA MARIA" userId="efa43ab3-f30d-49e0-8bcf-cbcf637d4549" providerId="ADAL" clId="{6A330D84-F627-4444-B263-40F0F2DBEFBD}" dt="2025-01-15T19:38:23.207" v="191" actId="20577"/>
        <pc:sldMkLst>
          <pc:docMk/>
          <pc:sldMk cId="1685050724" sldId="8137"/>
        </pc:sldMkLst>
        <pc:spChg chg="mod">
          <ac:chgData name="CACERES SANDOVAL, EVA MARIA" userId="efa43ab3-f30d-49e0-8bcf-cbcf637d4549" providerId="ADAL" clId="{6A330D84-F627-4444-B263-40F0F2DBEFBD}" dt="2025-01-15T19:38:23.207" v="191" actId="20577"/>
          <ac:spMkLst>
            <pc:docMk/>
            <pc:sldMk cId="1685050724" sldId="8137"/>
            <ac:spMk id="2" creationId="{9E35DCEA-11FB-375E-BA08-3B2B59711278}"/>
          </ac:spMkLst>
        </pc:spChg>
      </pc:sldChg>
    </pc:docChg>
  </pc:docChgLst>
  <pc:docChgLst>
    <pc:chgData name="CACERES SANDOVAL, EVA MARIA" userId="efa43ab3-f30d-49e0-8bcf-cbcf637d4549" providerId="ADAL" clId="{1C69FA45-7766-4AEA-9086-E66B1BA7F37C}"/>
    <pc:docChg chg="modSld">
      <pc:chgData name="CACERES SANDOVAL, EVA MARIA" userId="efa43ab3-f30d-49e0-8bcf-cbcf637d4549" providerId="ADAL" clId="{1C69FA45-7766-4AEA-9086-E66B1BA7F37C}" dt="2025-01-20T12:53:32.970" v="27" actId="20577"/>
      <pc:docMkLst>
        <pc:docMk/>
      </pc:docMkLst>
      <pc:sldChg chg="modSp mod">
        <pc:chgData name="CACERES SANDOVAL, EVA MARIA" userId="efa43ab3-f30d-49e0-8bcf-cbcf637d4549" providerId="ADAL" clId="{1C69FA45-7766-4AEA-9086-E66B1BA7F37C}" dt="2025-01-20T12:53:32.970" v="27" actId="20577"/>
        <pc:sldMkLst>
          <pc:docMk/>
          <pc:sldMk cId="3697566562" sldId="278"/>
        </pc:sldMkLst>
        <pc:spChg chg="mod">
          <ac:chgData name="CACERES SANDOVAL, EVA MARIA" userId="efa43ab3-f30d-49e0-8bcf-cbcf637d4549" providerId="ADAL" clId="{1C69FA45-7766-4AEA-9086-E66B1BA7F37C}" dt="2025-01-20T12:53:32.970" v="27" actId="20577"/>
          <ac:spMkLst>
            <pc:docMk/>
            <pc:sldMk cId="3697566562" sldId="278"/>
            <ac:spMk id="3" creationId="{A74000BB-01C3-44BA-816C-04CA7BEBCF72}"/>
          </ac:spMkLst>
        </pc:spChg>
        <pc:spChg chg="mod">
          <ac:chgData name="CACERES SANDOVAL, EVA MARIA" userId="efa43ab3-f30d-49e0-8bcf-cbcf637d4549" providerId="ADAL" clId="{1C69FA45-7766-4AEA-9086-E66B1BA7F37C}" dt="2025-01-20T12:53:14.084" v="3" actId="1076"/>
          <ac:spMkLst>
            <pc:docMk/>
            <pc:sldMk cId="3697566562" sldId="278"/>
            <ac:spMk id="6" creationId="{6C1E2C2E-24E6-2DB4-39F5-CB11C3842301}"/>
          </ac:spMkLst>
        </pc:spChg>
        <pc:spChg chg="mod">
          <ac:chgData name="CACERES SANDOVAL, EVA MARIA" userId="efa43ab3-f30d-49e0-8bcf-cbcf637d4549" providerId="ADAL" clId="{1C69FA45-7766-4AEA-9086-E66B1BA7F37C}" dt="2025-01-20T12:53:06.261" v="0" actId="1076"/>
          <ac:spMkLst>
            <pc:docMk/>
            <pc:sldMk cId="3697566562" sldId="278"/>
            <ac:spMk id="11" creationId="{DB2AFE03-F3DA-ED5E-0F58-FB1B85F2393B}"/>
          </ac:spMkLst>
        </pc:spChg>
        <pc:spChg chg="mod">
          <ac:chgData name="CACERES SANDOVAL, EVA MARIA" userId="efa43ab3-f30d-49e0-8bcf-cbcf637d4549" providerId="ADAL" clId="{1C69FA45-7766-4AEA-9086-E66B1BA7F37C}" dt="2025-01-20T12:53:08.459" v="1" actId="1076"/>
          <ac:spMkLst>
            <pc:docMk/>
            <pc:sldMk cId="3697566562" sldId="278"/>
            <ac:spMk id="12" creationId="{2A5F4AE4-3F90-D5B0-F07F-FF52C44102BB}"/>
          </ac:spMkLst>
        </pc:spChg>
        <pc:spChg chg="mod">
          <ac:chgData name="CACERES SANDOVAL, EVA MARIA" userId="efa43ab3-f30d-49e0-8bcf-cbcf637d4549" providerId="ADAL" clId="{1C69FA45-7766-4AEA-9086-E66B1BA7F37C}" dt="2025-01-20T12:53:10.965" v="2" actId="1076"/>
          <ac:spMkLst>
            <pc:docMk/>
            <pc:sldMk cId="3697566562" sldId="278"/>
            <ac:spMk id="13" creationId="{C8A49855-0EE7-D7DF-868F-8404FC0A1B8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D3472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E1833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EC74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27B3D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0088BA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88BA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934E1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34E1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PE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PE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3472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E183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EC24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27B3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0088B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934E1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88BA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s-P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6DA9916-5E6C-4D6D-A985-E6C00F0B5D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D703D9-AF9D-4CCE-8832-29F095A74F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EC6DB-F2BE-47F2-B7BA-FCF00AF40D10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13A1AE-E7BA-40C7-9D4E-864A68F6FF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F437E5-CD84-4083-9937-5D84488B9D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4AEEB9-CDD2-4C24-96B2-19A44D5C36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295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EED030-48CC-D340-A246-BA954A3A0B49}" type="datetimeFigureOut">
              <a:rPr lang="en-US" smtClean="0"/>
              <a:t>1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80130-CE8D-E640-9639-E0473270C6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94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80130-CE8D-E640-9639-E0473270C6C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597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80130-CE8D-E640-9639-E0473270C6C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1159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286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lgunos</a:t>
            </a:r>
            <a:r>
              <a:rPr lang="en-US" dirty="0"/>
              <a:t> </a:t>
            </a:r>
            <a:r>
              <a:rPr lang="en-US" dirty="0" err="1"/>
              <a:t>incidentes</a:t>
            </a:r>
            <a:r>
              <a:rPr lang="en-US" dirty="0"/>
              <a:t> </a:t>
            </a:r>
            <a:r>
              <a:rPr lang="en-US" dirty="0" err="1"/>
              <a:t>pueden</a:t>
            </a:r>
            <a:r>
              <a:rPr lang="en-US" dirty="0"/>
              <a:t> </a:t>
            </a:r>
            <a:r>
              <a:rPr lang="en-US" dirty="0" err="1"/>
              <a:t>surgir</a:t>
            </a:r>
            <a:r>
              <a:rPr lang="en-US" dirty="0"/>
              <a:t> o </a:t>
            </a:r>
            <a:r>
              <a:rPr lang="en-US" dirty="0" err="1"/>
              <a:t>dar</a:t>
            </a:r>
            <a:r>
              <a:rPr lang="en-US" dirty="0"/>
              <a:t> </a:t>
            </a:r>
            <a:r>
              <a:rPr lang="en-US" dirty="0" err="1"/>
              <a:t>lugar</a:t>
            </a:r>
            <a:r>
              <a:rPr lang="en-US" dirty="0"/>
              <a:t> a </a:t>
            </a:r>
            <a:r>
              <a:rPr lang="en-US" b="1" dirty="0" err="1"/>
              <a:t>Emergencias</a:t>
            </a:r>
            <a:r>
              <a:rPr lang="en-US" b="1" dirty="0"/>
              <a:t>,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lo </a:t>
            </a:r>
            <a:r>
              <a:rPr lang="en-US" dirty="0" err="1"/>
              <a:t>cual</a:t>
            </a:r>
            <a:r>
              <a:rPr lang="en-US" dirty="0"/>
              <a:t> es </a:t>
            </a:r>
            <a:r>
              <a:rPr lang="en-US" dirty="0" err="1"/>
              <a:t>necesario</a:t>
            </a:r>
            <a:r>
              <a:rPr lang="en-US" dirty="0"/>
              <a:t> </a:t>
            </a:r>
            <a:r>
              <a:rPr lang="en-US" dirty="0" err="1"/>
              <a:t>conocer</a:t>
            </a:r>
            <a:r>
              <a:rPr lang="en-US" dirty="0"/>
              <a:t> la forma de </a:t>
            </a:r>
            <a:r>
              <a:rPr lang="en-US" dirty="0" err="1"/>
              <a:t>reportarlas</a:t>
            </a:r>
            <a:r>
              <a:rPr lang="en-US" dirty="0"/>
              <a:t>.</a:t>
            </a:r>
          </a:p>
          <a:p>
            <a:r>
              <a:rPr lang="es-PE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En SMCV se tiene establecido la </a:t>
            </a:r>
            <a:r>
              <a:rPr lang="es-PE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reportabilidad</a:t>
            </a:r>
            <a:r>
              <a:rPr lang="es-PE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de una emergencia y el o los trabajadores testigos o involucrados en ésta, deberán solicitar ayuda inmediatamente alertando al personal más cercano y avisando a la Central de Emergencias utilizando los medios de comunicación que tengan a su alcance. Las dos formas de reportar son: </a:t>
            </a:r>
            <a:r>
              <a:rPr lang="es-PE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Via</a:t>
            </a:r>
            <a:r>
              <a:rPr lang="es-PE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Radial – </a:t>
            </a:r>
            <a:r>
              <a:rPr lang="es-PE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Via</a:t>
            </a:r>
            <a:r>
              <a:rPr lang="es-PE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s-PE" sz="1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Telefonica</a:t>
            </a:r>
            <a:r>
              <a:rPr lang="es-PE" sz="1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.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56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PE" dirty="0"/>
              <a:t>ES RESPONSABILIDAD DE CADA EECC PARTICIPAR ACTIVAMENTE EN LOS PROCESOS DE INVESTIGACIÓN DE INCIDENTES, SEGUIMIENTO A PLANES DE ACCION Y EFICACIAS DE LOS MISMOS, LOS CUALES SON CANALIZADOS A TRAVES DE SU ADMINISTRADOR DE CONTRATOS.</a:t>
            </a:r>
          </a:p>
          <a:p>
            <a:endParaRPr lang="es-P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80130-CE8D-E640-9639-E0473270C6C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825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1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2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oleObject" Target="../embeddings/oleObject15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1.jpe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oleObject" Target="../embeddings/oleObject16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1.jpe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11" Type="http://schemas.openxmlformats.org/officeDocument/2006/relationships/image" Target="../media/image8.emf"/><Relationship Id="rId5" Type="http://schemas.openxmlformats.org/officeDocument/2006/relationships/image" Target="../media/image1.jpeg"/><Relationship Id="rId10" Type="http://schemas.openxmlformats.org/officeDocument/2006/relationships/image" Target="../media/image6.png"/><Relationship Id="rId4" Type="http://schemas.openxmlformats.org/officeDocument/2006/relationships/image" Target="../media/image2.emf"/><Relationship Id="rId9" Type="http://schemas.openxmlformats.org/officeDocument/2006/relationships/image" Target="../media/image14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.jpeg"/><Relationship Id="rId7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5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.jpeg"/><Relationship Id="rId7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5.jp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1.jpeg"/><Relationship Id="rId7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5.jp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.emf"/><Relationship Id="rId9" Type="http://schemas.openxmlformats.org/officeDocument/2006/relationships/image" Target="../media/image5.jp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2.emf"/><Relationship Id="rId9" Type="http://schemas.openxmlformats.org/officeDocument/2006/relationships/image" Target="../media/image5.jp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image" Target="../media/image16.png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3.png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u M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0D227D0-2279-EB37-DA1E-2ABBC9ECF9C4}"/>
              </a:ext>
            </a:extLst>
          </p:cNvPr>
          <p:cNvSpPr/>
          <p:nvPr userDrawn="1"/>
        </p:nvSpPr>
        <p:spPr>
          <a:xfrm>
            <a:off x="0" y="3176"/>
            <a:ext cx="12188824" cy="66389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602AEA04-60B4-B98B-B6AF-0281A2BA37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8" r="20634" b="22900"/>
          <a:stretch>
            <a:fillRect/>
          </a:stretch>
        </p:blipFill>
        <p:spPr bwMode="auto">
          <a:xfrm>
            <a:off x="3176" y="0"/>
            <a:ext cx="12192000" cy="686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93C07996-6E4E-B87F-9D2C-B0090291EB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215900"/>
            <a:ext cx="5013325" cy="199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ED05DFF-6FEF-97F9-D107-3FBAB37590C2}"/>
              </a:ext>
            </a:extLst>
          </p:cNvPr>
          <p:cNvSpPr/>
          <p:nvPr userDrawn="1"/>
        </p:nvSpPr>
        <p:spPr>
          <a:xfrm>
            <a:off x="9210067" y="5746749"/>
            <a:ext cx="2543175" cy="895350"/>
          </a:xfrm>
          <a:prstGeom prst="rect">
            <a:avLst/>
          </a:prstGeom>
          <a:solidFill>
            <a:schemeClr val="bg1">
              <a:alpha val="8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/>
          </a:p>
        </p:txBody>
      </p:sp>
      <p:pic>
        <p:nvPicPr>
          <p:cNvPr id="7" name="Picture 6" descr="A black and orange logo&#10;&#10;Description automatically generated">
            <a:extLst>
              <a:ext uri="{FF2B5EF4-FFF2-40B4-BE49-F238E27FC236}">
                <a16:creationId xmlns:a16="http://schemas.microsoft.com/office/drawing/2014/main" id="{B93B7BED-ECDB-FF0F-E352-BFD9F84F7D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9604" y="5800724"/>
            <a:ext cx="2433638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7CB639-4406-F645-A1FE-7638E0CAFC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38759" y="5593843"/>
            <a:ext cx="1608312" cy="8953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34CAAA-8185-31F4-D61F-95A16AEEE2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2670447" y="6013246"/>
            <a:ext cx="479425" cy="481012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phic 29">
            <a:extLst>
              <a:ext uri="{FF2B5EF4-FFF2-40B4-BE49-F238E27FC236}">
                <a16:creationId xmlns:a16="http://schemas.microsoft.com/office/drawing/2014/main" id="{DECD6D3B-6B2D-C058-14C5-5146D9917F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4801425" y="6062661"/>
            <a:ext cx="1312862" cy="430213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9">
            <a:extLst>
              <a:ext uri="{FF2B5EF4-FFF2-40B4-BE49-F238E27FC236}">
                <a16:creationId xmlns:a16="http://schemas.microsoft.com/office/drawing/2014/main" id="{E3BE5A43-0AC0-7D96-71B4-9C6B463D0A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1022" y="6286802"/>
            <a:ext cx="7747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dirty="0">
                <a:solidFill>
                  <a:schemeClr val="bg1"/>
                </a:solidFill>
              </a:rPr>
              <a:t>fcx.com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301EB0F-1A8B-9EDE-58B1-66E070D099C6}"/>
              </a:ext>
            </a:extLst>
          </p:cNvPr>
          <p:cNvGrpSpPr/>
          <p:nvPr userDrawn="1"/>
        </p:nvGrpSpPr>
        <p:grpSpPr>
          <a:xfrm>
            <a:off x="3698560" y="5917312"/>
            <a:ext cx="646265" cy="611360"/>
            <a:chOff x="3739656" y="5917312"/>
            <a:chExt cx="646265" cy="61136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D68A016-345E-2BD0-36BF-AE500A656797}"/>
                </a:ext>
              </a:extLst>
            </p:cNvPr>
            <p:cNvSpPr/>
            <p:nvPr userDrawn="1"/>
          </p:nvSpPr>
          <p:spPr>
            <a:xfrm>
              <a:off x="3800083" y="5954032"/>
              <a:ext cx="502920" cy="532875"/>
            </a:xfrm>
            <a:prstGeom prst="rect">
              <a:avLst/>
            </a:prstGeom>
            <a:solidFill>
              <a:srgbClr val="7159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26" name="Picture 25" descr="A black and white logo&#10;&#10;Description automatically generated">
              <a:extLst>
                <a:ext uri="{FF2B5EF4-FFF2-40B4-BE49-F238E27FC236}">
                  <a16:creationId xmlns:a16="http://schemas.microsoft.com/office/drawing/2014/main" id="{0F414CA1-7464-7472-E9C9-03D15A3610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3739656" y="5917312"/>
              <a:ext cx="646265" cy="6113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4002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3176" y="1177709"/>
            <a:ext cx="12188824" cy="15151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287685"/>
            <a:ext cx="8707956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121728" y="4930439"/>
            <a:ext cx="372486" cy="1231804"/>
          </a:xfrm>
          <a:prstGeom prst="rect">
            <a:avLst/>
          </a:prstGeom>
          <a:gradFill>
            <a:gsLst>
              <a:gs pos="25000">
                <a:srgbClr val="FEC745"/>
              </a:gs>
              <a:gs pos="0">
                <a:srgbClr val="E18332"/>
              </a:gs>
              <a:gs pos="100000">
                <a:srgbClr val="9B53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076559" y="4964036"/>
            <a:ext cx="387623" cy="1206610"/>
          </a:xfrm>
          <a:prstGeom prst="rect">
            <a:avLst/>
          </a:prstGeom>
          <a:gradFill>
            <a:gsLst>
              <a:gs pos="71000">
                <a:srgbClr val="A06146"/>
              </a:gs>
              <a:gs pos="46000">
                <a:srgbClr val="DA9E7F"/>
              </a:gs>
              <a:gs pos="25000">
                <a:srgbClr val="F9C397"/>
              </a:gs>
              <a:gs pos="0">
                <a:srgbClr val="F2D3AE"/>
              </a:gs>
              <a:gs pos="100000">
                <a:srgbClr val="843C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185337" y="4628345"/>
            <a:ext cx="3132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589813" y="4924026"/>
            <a:ext cx="357080" cy="1231802"/>
          </a:xfrm>
          <a:prstGeom prst="rect">
            <a:avLst/>
          </a:prstGeom>
          <a:gradFill>
            <a:gsLst>
              <a:gs pos="52000">
                <a:srgbClr val="FED46A"/>
              </a:gs>
              <a:gs pos="0">
                <a:srgbClr val="F59948"/>
              </a:gs>
              <a:gs pos="100000">
                <a:srgbClr val="E183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2072120" y="4964036"/>
            <a:ext cx="409910" cy="1206609"/>
          </a:xfrm>
          <a:prstGeom prst="rect">
            <a:avLst/>
          </a:prstGeom>
          <a:gradFill>
            <a:gsLst>
              <a:gs pos="40000">
                <a:srgbClr val="0088BA"/>
              </a:gs>
              <a:gs pos="0">
                <a:srgbClr val="B5E4F7"/>
              </a:gs>
              <a:gs pos="100000">
                <a:srgbClr val="084A6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347271" y="1310797"/>
            <a:ext cx="7812626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The Value of Copper 2024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lect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select THE VALUE OF COPPER 2024 them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433506" y="3198414"/>
            <a:ext cx="275897" cy="245798"/>
          </a:xfrm>
          <a:prstGeom prst="rect">
            <a:avLst/>
          </a:prstGeom>
          <a:solidFill>
            <a:srgbClr val="0088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62179365"/>
              </p:ext>
            </p:extLst>
          </p:nvPr>
        </p:nvGraphicFramePr>
        <p:xfrm>
          <a:off x="6549001" y="3044858"/>
          <a:ext cx="5231928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88038930"/>
              </p:ext>
            </p:extLst>
          </p:nvPr>
        </p:nvGraphicFramePr>
        <p:xfrm>
          <a:off x="2750712" y="4507242"/>
          <a:ext cx="3553778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2443973" y="3198414"/>
            <a:ext cx="275897" cy="245798"/>
          </a:xfrm>
          <a:prstGeom prst="rect">
            <a:avLst/>
          </a:prstGeom>
          <a:solidFill>
            <a:srgbClr val="8D6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197494" y="4078794"/>
            <a:ext cx="726924" cy="2275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934E1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135420" y="3470719"/>
            <a:ext cx="748559" cy="2457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0088BA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8B450E5-93A1-03E4-06E5-F726212F7A85}"/>
              </a:ext>
            </a:extLst>
          </p:cNvPr>
          <p:cNvGrpSpPr/>
          <p:nvPr userDrawn="1"/>
        </p:nvGrpSpPr>
        <p:grpSpPr>
          <a:xfrm>
            <a:off x="10531751" y="1345381"/>
            <a:ext cx="961254" cy="500575"/>
            <a:chOff x="7525504" y="1297924"/>
            <a:chExt cx="2552344" cy="132913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50C5B7E-66CD-22B1-A7CC-620E726E1657}"/>
                </a:ext>
              </a:extLst>
            </p:cNvPr>
            <p:cNvSpPr/>
            <p:nvPr userDrawn="1"/>
          </p:nvSpPr>
          <p:spPr>
            <a:xfrm rot="16200000">
              <a:off x="7493951" y="2027571"/>
              <a:ext cx="631045" cy="567940"/>
            </a:xfrm>
            <a:prstGeom prst="rect">
              <a:avLst/>
            </a:prstGeom>
            <a:solidFill>
              <a:srgbClr val="8B6C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59C8346-DDF9-C543-1322-050C61E69177}"/>
                </a:ext>
              </a:extLst>
            </p:cNvPr>
            <p:cNvSpPr/>
            <p:nvPr userDrawn="1"/>
          </p:nvSpPr>
          <p:spPr>
            <a:xfrm rot="16200000">
              <a:off x="8114857" y="2015738"/>
              <a:ext cx="631045" cy="567940"/>
            </a:xfrm>
            <a:prstGeom prst="rect">
              <a:avLst/>
            </a:prstGeom>
            <a:solidFill>
              <a:srgbClr val="AF75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07BC7A-00DB-D2E6-EC0C-A71A437B4EFD}"/>
                </a:ext>
              </a:extLst>
            </p:cNvPr>
            <p:cNvSpPr/>
            <p:nvPr userDrawn="1"/>
          </p:nvSpPr>
          <p:spPr>
            <a:xfrm rot="16200000">
              <a:off x="8796606" y="2027571"/>
              <a:ext cx="631045" cy="567940"/>
            </a:xfrm>
            <a:prstGeom prst="rect">
              <a:avLst/>
            </a:prstGeom>
            <a:solidFill>
              <a:srgbClr val="B74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5CF867-39F1-0307-26AF-D293CF7B76F4}"/>
                </a:ext>
              </a:extLst>
            </p:cNvPr>
            <p:cNvSpPr/>
            <p:nvPr userDrawn="1"/>
          </p:nvSpPr>
          <p:spPr>
            <a:xfrm rot="16200000">
              <a:off x="9478355" y="2015738"/>
              <a:ext cx="631045" cy="567940"/>
            </a:xfrm>
            <a:prstGeom prst="rect">
              <a:avLst/>
            </a:prstGeom>
            <a:solidFill>
              <a:srgbClr val="C87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15AA0B-E523-2F79-637A-3E7E601194AF}"/>
                </a:ext>
              </a:extLst>
            </p:cNvPr>
            <p:cNvSpPr/>
            <p:nvPr userDrawn="1"/>
          </p:nvSpPr>
          <p:spPr>
            <a:xfrm rot="16200000">
              <a:off x="8143027" y="1329477"/>
              <a:ext cx="631045" cy="567940"/>
            </a:xfrm>
            <a:prstGeom prst="rect">
              <a:avLst/>
            </a:prstGeom>
            <a:solidFill>
              <a:srgbClr val="984D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A98FD3-C5C7-3A8E-5021-2EFA126715E4}"/>
                </a:ext>
              </a:extLst>
            </p:cNvPr>
            <p:cNvSpPr/>
            <p:nvPr userDrawn="1"/>
          </p:nvSpPr>
          <p:spPr>
            <a:xfrm rot="16200000">
              <a:off x="8825909" y="1329477"/>
              <a:ext cx="631045" cy="567940"/>
            </a:xfrm>
            <a:prstGeom prst="rect">
              <a:avLst/>
            </a:prstGeom>
            <a:solidFill>
              <a:srgbClr val="D896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9BD5750-99EC-A516-E042-61A5D5E987A2}"/>
                </a:ext>
              </a:extLst>
            </p:cNvPr>
            <p:cNvSpPr/>
            <p:nvPr userDrawn="1"/>
          </p:nvSpPr>
          <p:spPr>
            <a:xfrm rot="16200000">
              <a:off x="7493951" y="1329477"/>
              <a:ext cx="631045" cy="567940"/>
            </a:xfrm>
            <a:prstGeom prst="rect">
              <a:avLst/>
            </a:prstGeom>
            <a:solidFill>
              <a:srgbClr val="F2D3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1AE890C-E3C6-ED59-15A8-A144083947E6}"/>
                </a:ext>
              </a:extLst>
            </p:cNvPr>
            <p:cNvSpPr/>
            <p:nvPr userDrawn="1"/>
          </p:nvSpPr>
          <p:spPr>
            <a:xfrm rot="16200000">
              <a:off x="9461462" y="1329477"/>
              <a:ext cx="631045" cy="567940"/>
            </a:xfrm>
            <a:prstGeom prst="rect">
              <a:avLst/>
            </a:prstGeom>
            <a:solidFill>
              <a:srgbClr val="F9C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7D3ED3C9-2E9A-CA4B-BFE4-FC3CBB8F8E02}"/>
              </a:ext>
            </a:extLst>
          </p:cNvPr>
          <p:cNvSpPr/>
          <p:nvPr userDrawn="1"/>
        </p:nvSpPr>
        <p:spPr>
          <a:xfrm>
            <a:off x="1084823" y="3198414"/>
            <a:ext cx="275897" cy="245798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0E4A417-EDED-51C6-51E8-088462781285}"/>
              </a:ext>
            </a:extLst>
          </p:cNvPr>
          <p:cNvSpPr txBox="1"/>
          <p:nvPr userDrawn="1"/>
        </p:nvSpPr>
        <p:spPr>
          <a:xfrm>
            <a:off x="822501" y="3470719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27B3D3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8B8FE62-54EA-B1A6-4D5D-1B6F83777EBA}"/>
              </a:ext>
            </a:extLst>
          </p:cNvPr>
          <p:cNvSpPr/>
          <p:nvPr userDrawn="1"/>
        </p:nvSpPr>
        <p:spPr>
          <a:xfrm rot="16200000">
            <a:off x="1721749" y="3792360"/>
            <a:ext cx="245797" cy="275899"/>
          </a:xfrm>
          <a:prstGeom prst="rect">
            <a:avLst/>
          </a:prstGeom>
          <a:solidFill>
            <a:srgbClr val="FEC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B339C41-EB9D-2053-2BE7-B4DB307AC722}"/>
              </a:ext>
            </a:extLst>
          </p:cNvPr>
          <p:cNvSpPr txBox="1"/>
          <p:nvPr userDrawn="1"/>
        </p:nvSpPr>
        <p:spPr>
          <a:xfrm>
            <a:off x="1481995" y="4078794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FEC240</a:t>
            </a:r>
          </a:p>
          <a:p>
            <a:endParaRPr lang="en-US" sz="1000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99ADD03-E78B-C137-819B-6E50935B79A6}"/>
              </a:ext>
            </a:extLst>
          </p:cNvPr>
          <p:cNvSpPr/>
          <p:nvPr userDrawn="1"/>
        </p:nvSpPr>
        <p:spPr>
          <a:xfrm>
            <a:off x="2553805" y="4975761"/>
            <a:ext cx="426051" cy="1206609"/>
          </a:xfrm>
          <a:prstGeom prst="rect">
            <a:avLst/>
          </a:prstGeom>
          <a:gradFill>
            <a:gsLst>
              <a:gs pos="98473">
                <a:srgbClr val="638600"/>
              </a:gs>
              <a:gs pos="4580">
                <a:srgbClr val="C0FF0D"/>
              </a:gs>
              <a:gs pos="40000">
                <a:srgbClr val="B0EE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81FB068-CDE8-9913-96C4-171A6C8D6B6F}"/>
              </a:ext>
            </a:extLst>
          </p:cNvPr>
          <p:cNvSpPr/>
          <p:nvPr userDrawn="1"/>
        </p:nvSpPr>
        <p:spPr>
          <a:xfrm>
            <a:off x="1574097" y="4975762"/>
            <a:ext cx="426051" cy="1206609"/>
          </a:xfrm>
          <a:prstGeom prst="rect">
            <a:avLst/>
          </a:prstGeom>
          <a:gradFill>
            <a:gsLst>
              <a:gs pos="1527">
                <a:srgbClr val="F9C397"/>
              </a:gs>
              <a:gs pos="49000">
                <a:srgbClr val="FB7645"/>
              </a:gs>
              <a:gs pos="98473">
                <a:srgbClr val="B7452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05F3B9D-DA54-0028-40A8-328FF1F9A6DA}"/>
              </a:ext>
            </a:extLst>
          </p:cNvPr>
          <p:cNvSpPr txBox="1"/>
          <p:nvPr userDrawn="1"/>
        </p:nvSpPr>
        <p:spPr>
          <a:xfrm>
            <a:off x="868779" y="4078794"/>
            <a:ext cx="72692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D34727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7E8AAD6-9B30-759D-367C-277FFF406E8C}"/>
              </a:ext>
            </a:extLst>
          </p:cNvPr>
          <p:cNvSpPr/>
          <p:nvPr userDrawn="1"/>
        </p:nvSpPr>
        <p:spPr>
          <a:xfrm rot="16200000">
            <a:off x="1076757" y="3792360"/>
            <a:ext cx="245797" cy="275899"/>
          </a:xfrm>
          <a:prstGeom prst="rect">
            <a:avLst/>
          </a:prstGeom>
          <a:solidFill>
            <a:srgbClr val="D34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2C905D1-1976-C7A7-590F-7D464B63174C}"/>
              </a:ext>
            </a:extLst>
          </p:cNvPr>
          <p:cNvSpPr/>
          <p:nvPr userDrawn="1"/>
        </p:nvSpPr>
        <p:spPr>
          <a:xfrm>
            <a:off x="1692082" y="3198414"/>
            <a:ext cx="275897" cy="245798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F6E65E0-AE2A-AAF7-929F-878FDB36F939}"/>
              </a:ext>
            </a:extLst>
          </p:cNvPr>
          <p:cNvSpPr txBox="1"/>
          <p:nvPr userDrawn="1"/>
        </p:nvSpPr>
        <p:spPr>
          <a:xfrm>
            <a:off x="1558344" y="3470719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88BA00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E3C5C3A-7B79-FE7E-4C95-03B146EF63CE}"/>
              </a:ext>
            </a:extLst>
          </p:cNvPr>
          <p:cNvSpPr/>
          <p:nvPr userDrawn="1"/>
        </p:nvSpPr>
        <p:spPr>
          <a:xfrm rot="16200000">
            <a:off x="426122" y="3792360"/>
            <a:ext cx="245797" cy="275899"/>
          </a:xfrm>
          <a:prstGeom prst="rect">
            <a:avLst/>
          </a:prstGeom>
          <a:solidFill>
            <a:srgbClr val="934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043E0E4-22C5-BDBE-B662-D2E539438B8A}"/>
              </a:ext>
            </a:extLst>
          </p:cNvPr>
          <p:cNvSpPr/>
          <p:nvPr userDrawn="1"/>
        </p:nvSpPr>
        <p:spPr>
          <a:xfrm>
            <a:off x="2443973" y="3807411"/>
            <a:ext cx="275897" cy="245798"/>
          </a:xfrm>
          <a:prstGeom prst="rect">
            <a:avLst/>
          </a:prstGeom>
          <a:solidFill>
            <a:srgbClr val="E18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9D7D4CE-9410-F50D-14BC-FD35C3AA9E30}"/>
              </a:ext>
            </a:extLst>
          </p:cNvPr>
          <p:cNvSpPr txBox="1"/>
          <p:nvPr userDrawn="1"/>
        </p:nvSpPr>
        <p:spPr>
          <a:xfrm>
            <a:off x="2316666" y="4078794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E1833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14CD594-3F2E-8712-9AA6-FB70B7D94317}"/>
              </a:ext>
            </a:extLst>
          </p:cNvPr>
          <p:cNvSpPr txBox="1"/>
          <p:nvPr userDrawn="1"/>
        </p:nvSpPr>
        <p:spPr>
          <a:xfrm>
            <a:off x="2294187" y="3470719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8D6E59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B1E10008-592A-2374-E6DC-72C295AFE1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19209" b="6673"/>
          <a:stretch/>
        </p:blipFill>
        <p:spPr>
          <a:xfrm>
            <a:off x="6549001" y="1268585"/>
            <a:ext cx="5586842" cy="133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549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2 bulle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270861"/>
            <a:ext cx="8865017" cy="67538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89" y="2578708"/>
            <a:ext cx="4797348" cy="340987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5933937-D526-39D3-2E4F-25D59D0B6F6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578637" y="2569029"/>
            <a:ext cx="5159928" cy="340987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FA1CD20-ECA4-3002-0A6B-ED7734285E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55377" y="1532051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26734F-1F25-2206-CE5E-427A510611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589" y="1514634"/>
            <a:ext cx="479734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783128AE-58B8-7085-F57C-AB98DF58D113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5"/>
          <a:srcRect t="76875"/>
          <a:stretch/>
        </p:blipFill>
        <p:spPr>
          <a:xfrm rot="5400000">
            <a:off x="4037280" y="3806558"/>
            <a:ext cx="3825013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02504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text graphic ins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1" y="6507849"/>
            <a:ext cx="7363977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51137-A964-4A57-9A4A-680957F99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301808"/>
            <a:ext cx="8906802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FC5520E-1159-6C32-5738-E98CB1A356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810" y="3374972"/>
            <a:ext cx="11090131" cy="259357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4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7F87929-4463-ACF6-A600-2F1F9D3AEE9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97810" y="1399812"/>
            <a:ext cx="11090131" cy="1626022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4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320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8E1F5752-9C5B-79E7-70B7-618780D7D998}"/>
              </a:ext>
            </a:extLst>
          </p:cNvPr>
          <p:cNvGrpSpPr/>
          <p:nvPr userDrawn="1"/>
        </p:nvGrpSpPr>
        <p:grpSpPr>
          <a:xfrm>
            <a:off x="2795954" y="3494667"/>
            <a:ext cx="6547128" cy="1780502"/>
            <a:chOff x="2795954" y="3320509"/>
            <a:chExt cx="6540700" cy="1955633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0F6F3D3-1D9F-4009-91D2-AD6A281F1E7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95954" y="3331397"/>
              <a:ext cx="0" cy="1944745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DB5D549-495F-4858-B322-93010E4861D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6654" y="3320509"/>
              <a:ext cx="0" cy="1944745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12192000" cy="1738327"/>
          </a:xfrm>
          <a:prstGeom prst="rect">
            <a:avLst/>
          </a:prstGeom>
          <a:solidFill>
            <a:srgbClr val="E5A38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8" name="Picture 7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08091AF0-A742-C6F5-FD53-3D0D2B9DF5EA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3"/>
          <a:srcRect t="76875"/>
          <a:stretch/>
        </p:blipFill>
        <p:spPr>
          <a:xfrm rot="5400000" flipV="1">
            <a:off x="4943406" y="2307862"/>
            <a:ext cx="2343661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98672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795954" y="3502552"/>
            <a:ext cx="6547128" cy="6143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1" y="6507849"/>
            <a:ext cx="7363977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51137-A964-4A57-9A4A-680957F99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301808"/>
            <a:ext cx="8906802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130839" y="5122546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4646324" y="2878247"/>
            <a:ext cx="2846389" cy="1431131"/>
          </a:xfrm>
          <a:prstGeom prst="rect">
            <a:avLst/>
          </a:prstGeom>
          <a:solidFill>
            <a:srgbClr val="0088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0339" y="3041245"/>
            <a:ext cx="2578359" cy="1112509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1283676" y="3840258"/>
            <a:ext cx="3024554" cy="961292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940063" y="5122546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442513" y="3893626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986729" y="4948280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459785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3741969" y="5122546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752742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7824376" y="3841094"/>
            <a:ext cx="3024554" cy="961292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3213" y="3894462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7527429" y="4948280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11138559" y="4948280"/>
            <a:ext cx="0" cy="422796"/>
          </a:xfrm>
          <a:prstGeom prst="line">
            <a:avLst/>
          </a:prstGeom>
          <a:ln w="19050">
            <a:solidFill>
              <a:srgbClr val="395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4D6692E-90E4-F1BB-44FE-F0C7068347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811" y="1227808"/>
            <a:ext cx="5501657" cy="14529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7548FE2-D97B-A78D-65F9-9BD434298E75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6337562" y="1216166"/>
            <a:ext cx="5501657" cy="14529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A75C58-3AE4-FA0B-6EF4-C474D5C724F4}"/>
              </a:ext>
            </a:extLst>
          </p:cNvPr>
          <p:cNvSpPr/>
          <p:nvPr userDrawn="1"/>
        </p:nvSpPr>
        <p:spPr>
          <a:xfrm>
            <a:off x="6705099" y="5126901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33187A-741D-D6FE-318C-00BF1E1068DA}"/>
              </a:ext>
            </a:extLst>
          </p:cNvPr>
          <p:cNvSpPr/>
          <p:nvPr userDrawn="1"/>
        </p:nvSpPr>
        <p:spPr>
          <a:xfrm>
            <a:off x="8514323" y="5126901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51C3D4-FA27-6859-0738-157F9DC7F0B6}"/>
              </a:ext>
            </a:extLst>
          </p:cNvPr>
          <p:cNvSpPr/>
          <p:nvPr userDrawn="1"/>
        </p:nvSpPr>
        <p:spPr>
          <a:xfrm>
            <a:off x="10316229" y="5126901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4A1895D-6964-75EF-3157-495986B8E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59" y="5196483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07B831A-A902-056B-0B33-1FBD39CB12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01162" y="5196483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427F256-EF5C-9ED1-AEF7-72E891E058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26789" y="5196483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1CC2F6-0C8E-57F8-C88E-E82AB07BF3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9919" y="5200838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92572BD-2688-AFF7-04C3-8B712550B6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422" y="5200838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E07D739-7491-9A54-1373-E4EF33C893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401049" y="5200838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275692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PPER HEAD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3112" y="1991876"/>
            <a:ext cx="1058068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rgbClr val="7A604D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pic>
        <p:nvPicPr>
          <p:cNvPr id="7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A9890C2-0B4A-67D7-ACF5-0C04FDCDB8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49" r="5438" b="67675"/>
          <a:stretch/>
        </p:blipFill>
        <p:spPr bwMode="auto">
          <a:xfrm>
            <a:off x="0" y="0"/>
            <a:ext cx="12192000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31F6E0F3-B299-F491-354D-8E509149DE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234950"/>
            <a:ext cx="3214687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D605FB7-35A4-3A3E-11C3-F7AE9838A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76875"/>
          <a:stretch/>
        </p:blipFill>
        <p:spPr>
          <a:xfrm>
            <a:off x="0" y="1657350"/>
            <a:ext cx="12212638" cy="46038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7A480A-8348-5647-DC92-B3A43A7688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9361283" y="782766"/>
            <a:ext cx="2174011" cy="609911"/>
          </a:xfrm>
          <a:prstGeom prst="rect">
            <a:avLst/>
          </a:prstGeom>
          <a:noFill/>
          <a:ln>
            <a:noFill/>
          </a:ln>
          <a:effectLst>
            <a:outerShdw dir="5400000" algn="ctr" rotWithShape="0">
              <a:srgbClr val="332E29"/>
            </a:outerShdw>
            <a:softEdge rad="0"/>
          </a:effectLst>
        </p:spPr>
      </p:pic>
      <p:pic>
        <p:nvPicPr>
          <p:cNvPr id="11" name="Picture 10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C3C86D9-0D22-6D83-9950-65FEBB19F884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7"/>
          <a:srcRect t="76875"/>
          <a:stretch/>
        </p:blipFill>
        <p:spPr>
          <a:xfrm>
            <a:off x="773113" y="2757488"/>
            <a:ext cx="8588170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23BFAF9-91B8-0B0A-2D42-89B62754C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3113" y="3141465"/>
            <a:ext cx="10580687" cy="2842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847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PPER HEAD Titl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562" y="1871665"/>
            <a:ext cx="11179764" cy="590553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rgbClr val="934E15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pic>
        <p:nvPicPr>
          <p:cNvPr id="7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A9890C2-0B4A-67D7-ACF5-0C04FDCDB8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49" r="5438" b="67675"/>
          <a:stretch/>
        </p:blipFill>
        <p:spPr bwMode="auto">
          <a:xfrm>
            <a:off x="0" y="0"/>
            <a:ext cx="12192000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31F6E0F3-B299-F491-354D-8E509149DE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234950"/>
            <a:ext cx="3214687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D605FB7-35A4-3A3E-11C3-F7AE9838A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76875"/>
          <a:stretch/>
        </p:blipFill>
        <p:spPr>
          <a:xfrm>
            <a:off x="0" y="1657350"/>
            <a:ext cx="12212638" cy="46038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7A480A-8348-5647-DC92-B3A43A7688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9361283" y="782766"/>
            <a:ext cx="2174011" cy="609911"/>
          </a:xfrm>
          <a:prstGeom prst="rect">
            <a:avLst/>
          </a:prstGeom>
          <a:noFill/>
          <a:ln>
            <a:noFill/>
          </a:ln>
          <a:effectLst>
            <a:outerShdw dir="5400000" algn="ctr" rotWithShape="0">
              <a:srgbClr val="332E29"/>
            </a:outerShdw>
            <a:softEdge rad="0"/>
          </a:effectLst>
        </p:spPr>
      </p:pic>
      <p:pic>
        <p:nvPicPr>
          <p:cNvPr id="11" name="Picture 10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C3C86D9-0D22-6D83-9950-65FEBB19F884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7"/>
          <a:srcRect t="76875"/>
          <a:stretch/>
        </p:blipFill>
        <p:spPr>
          <a:xfrm rot="5400000" flipV="1">
            <a:off x="4586711" y="4857132"/>
            <a:ext cx="2919701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23BFAF9-91B8-0B0A-2D42-89B62754C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8562" y="3420141"/>
            <a:ext cx="4797347" cy="2842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AD1E410-DBC5-596C-E05D-A295B5FCD00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621542" y="3420141"/>
            <a:ext cx="5183188" cy="2842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E11345D-7A99-8867-1FEC-3D392CB087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1542" y="2514472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BB7BE-C9DD-1F27-887A-41C05FF48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562" y="2514472"/>
            <a:ext cx="479734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1554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-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23C1FB-B71D-4B41-87C5-4DE6B7000D10}"/>
              </a:ext>
            </a:extLst>
          </p:cNvPr>
          <p:cNvSpPr/>
          <p:nvPr userDrawn="1"/>
        </p:nvSpPr>
        <p:spPr>
          <a:xfrm rot="5400000">
            <a:off x="7976290" y="2653387"/>
            <a:ext cx="6899563" cy="15096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8831" dist="38100" dir="5400000" sx="99255" sy="99255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7DAB67A5-52B5-E761-190F-3F552E8F29D6}"/>
              </a:ext>
            </a:extLst>
          </p:cNvPr>
          <p:cNvPicPr preferRelativeResize="0">
            <a:picLocks noChangeArrowheads="1"/>
          </p:cNvPicPr>
          <p:nvPr userDrawn="1"/>
        </p:nvPicPr>
        <p:blipFill rotWithShape="1">
          <a:blip r:embed="rId3"/>
          <a:srcRect l="22753" t="31085" r="43531" b="58009"/>
          <a:stretch/>
        </p:blipFill>
        <p:spPr bwMode="auto">
          <a:xfrm rot="5400000">
            <a:off x="7994783" y="2643689"/>
            <a:ext cx="6903720" cy="1512896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41565"/>
            <a:ext cx="10658008" cy="6903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8883619" y="2119722"/>
            <a:ext cx="4801809" cy="9968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58780453-E26A-83FB-0E4C-995A0DB74441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6"/>
          <a:srcRect t="76875"/>
          <a:stretch/>
        </p:blipFill>
        <p:spPr>
          <a:xfrm rot="5400000">
            <a:off x="7223853" y="3380958"/>
            <a:ext cx="6899563" cy="50820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7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E2E15CDE-441C-1A26-80F0-2248A9D844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0522032" y="5847941"/>
            <a:ext cx="1413162" cy="511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B4C645-301D-7E54-AB7D-DBFCD9362E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0433857" y="4404016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888420E-A35D-2CFE-2B8E-3923F03E234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126622" y="6469862"/>
            <a:ext cx="477866" cy="359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0F564E-E6D2-7B57-0167-4F8424CCE1A6}"/>
              </a:ext>
            </a:extLst>
          </p:cNvPr>
          <p:cNvSpPr>
            <a:spLocks noGrp="1"/>
          </p:cNvSpPr>
          <p:nvPr>
            <p:ph idx="1"/>
          </p:nvPr>
        </p:nvSpPr>
        <p:spPr>
          <a:xfrm rot="5400000">
            <a:off x="5792103" y="1998866"/>
            <a:ext cx="6396825" cy="284247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0718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97A209C-879B-4793-A1F6-391624282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22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0C4B9-0F6B-844C-8F59-53CC4699C9E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96240" y="80170"/>
            <a:ext cx="7620000" cy="8546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0AE07E-13D1-0C49-8580-52ECC3B58A9A}"/>
              </a:ext>
            </a:extLst>
          </p:cNvPr>
          <p:cNvSpPr>
            <a:spLocks noGrp="1"/>
          </p:cNvSpPr>
          <p:nvPr userDrawn="1"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1200"/>
              </a:spcBef>
              <a:defRPr sz="3200"/>
            </a:lvl1pPr>
            <a:lvl2pPr marL="742950" indent="-400050">
              <a:spcBef>
                <a:spcPts val="1200"/>
              </a:spcBef>
              <a:defRPr sz="2800">
                <a:solidFill>
                  <a:schemeClr val="tx1"/>
                </a:solidFill>
              </a:defRPr>
            </a:lvl2pPr>
            <a:lvl3pPr marL="1028700" indent="-342900">
              <a:spcBef>
                <a:spcPts val="1200"/>
              </a:spcBef>
              <a:buClr>
                <a:srgbClr val="BB5D00"/>
              </a:buClr>
              <a:defRPr sz="2000"/>
            </a:lvl3pPr>
            <a:lvl4pPr marL="1314450" indent="-285750">
              <a:spcBef>
                <a:spcPts val="1200"/>
              </a:spcBef>
              <a:buClr>
                <a:srgbClr val="BB5D00"/>
              </a:buClr>
              <a:defRPr sz="1800"/>
            </a:lvl4pPr>
            <a:lvl5pPr>
              <a:buClr>
                <a:srgbClr val="BB5D00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CE8378-8E25-4046-9F01-0519761AC6A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627935" y="6470652"/>
            <a:ext cx="548267" cy="365125"/>
          </a:xfrm>
        </p:spPr>
        <p:txBody>
          <a:bodyPr/>
          <a:lstStyle>
            <a:lvl1pP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53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title slide_CuM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C459347F-B010-C696-7FA3-DF009925D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34" t="12659" r="9909" b="41203"/>
          <a:stretch>
            <a:fillRect/>
          </a:stretch>
        </p:blipFill>
        <p:spPr bwMode="auto">
          <a:xfrm>
            <a:off x="0" y="-44626"/>
            <a:ext cx="12192000" cy="4138613"/>
          </a:xfrm>
          <a:prstGeom prst="rect">
            <a:avLst/>
          </a:prstGeom>
          <a:solidFill>
            <a:srgbClr val="6F5848"/>
          </a:solidFill>
          <a:ln>
            <a:noFill/>
          </a:ln>
          <a:effectLst>
            <a:outerShdw algn="ctr" rotWithShape="0">
              <a:srgbClr val="705949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19">
            <a:extLst>
              <a:ext uri="{FF2B5EF4-FFF2-40B4-BE49-F238E27FC236}">
                <a16:creationId xmlns:a16="http://schemas.microsoft.com/office/drawing/2014/main" id="{B332FC75-8C9E-45F4-879D-39F6AAC1E6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51900" y="4560888"/>
            <a:ext cx="30972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dirty="0">
                <a:solidFill>
                  <a:srgbClr val="8D6E59"/>
                </a:solidFill>
              </a:rPr>
              <a:t>fcx.com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0C3E55-B65C-B3FF-8ED5-0E3A86F00B51}"/>
              </a:ext>
            </a:extLst>
          </p:cNvPr>
          <p:cNvCxnSpPr>
            <a:cxnSpLocks/>
          </p:cNvCxnSpPr>
          <p:nvPr userDrawn="1"/>
        </p:nvCxnSpPr>
        <p:spPr>
          <a:xfrm>
            <a:off x="8851900" y="5950455"/>
            <a:ext cx="3068638" cy="0"/>
          </a:xfrm>
          <a:prstGeom prst="line">
            <a:avLst/>
          </a:prstGeom>
          <a:ln w="19050">
            <a:solidFill>
              <a:srgbClr val="7A6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E9B72ED-114F-BB1E-CB05-B2FADCC996A5}"/>
              </a:ext>
            </a:extLst>
          </p:cNvPr>
          <p:cNvSpPr/>
          <p:nvPr userDrawn="1"/>
        </p:nvSpPr>
        <p:spPr>
          <a:xfrm>
            <a:off x="8851900" y="3594100"/>
            <a:ext cx="3068638" cy="866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1" name="Picture 4" descr="A black and orange logo&#10;&#10;Description automatically generated">
            <a:extLst>
              <a:ext uri="{FF2B5EF4-FFF2-40B4-BE49-F238E27FC236}">
                <a16:creationId xmlns:a16="http://schemas.microsoft.com/office/drawing/2014/main" id="{45AB0B1B-B91D-940D-1F83-85C4F2AB90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275" y="3733800"/>
            <a:ext cx="2433638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A380301F-0181-067C-CD93-B6EA710CEF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2075" y="6086980"/>
            <a:ext cx="46672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phic 9">
            <a:extLst>
              <a:ext uri="{FF2B5EF4-FFF2-40B4-BE49-F238E27FC236}">
                <a16:creationId xmlns:a16="http://schemas.microsoft.com/office/drawing/2014/main" id="{D1AE8423-1332-B224-7BB0-8B5536B9F7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02544" y="6150480"/>
            <a:ext cx="1244600" cy="407987"/>
          </a:xfrm>
          <a:prstGeom prst="rect">
            <a:avLst/>
          </a:prstGeom>
        </p:spPr>
      </p:pic>
      <p:pic>
        <p:nvPicPr>
          <p:cNvPr id="14" name="Picture 10" descr="Logo&#10;&#10;Description automatically generated with low confidence">
            <a:extLst>
              <a:ext uri="{FF2B5EF4-FFF2-40B4-BE49-F238E27FC236}">
                <a16:creationId xmlns:a16="http://schemas.microsoft.com/office/drawing/2014/main" id="{C9C1C065-5B24-57FF-E754-BEB75C4496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4" t="4321" r="-20360" b="-3291"/>
          <a:stretch>
            <a:fillRect/>
          </a:stretch>
        </p:blipFill>
        <p:spPr bwMode="auto">
          <a:xfrm>
            <a:off x="11328132" y="6040942"/>
            <a:ext cx="7064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E27EAD57-CC9A-906B-452B-3D51F71FED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571875"/>
            <a:ext cx="5013325" cy="199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9859CB-D776-C4D0-ACB8-E6A6D4F0971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85894" y="2832743"/>
            <a:ext cx="1608312" cy="895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913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409DC80-0EB0-6B8E-8257-D833220C61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8" r="20634" b="22900"/>
          <a:stretch>
            <a:fillRect/>
          </a:stretch>
        </p:blipFill>
        <p:spPr bwMode="auto">
          <a:xfrm>
            <a:off x="0" y="-20638"/>
            <a:ext cx="12192000" cy="6883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56FC7E2-DE66-D293-5269-79F950D86DB4}"/>
              </a:ext>
            </a:extLst>
          </p:cNvPr>
          <p:cNvSpPr/>
          <p:nvPr userDrawn="1"/>
        </p:nvSpPr>
        <p:spPr>
          <a:xfrm>
            <a:off x="706438" y="-14288"/>
            <a:ext cx="4527550" cy="6877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18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C564AAC3-8D44-85DE-F27D-897A5DFB57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1149350"/>
            <a:ext cx="5561013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A black and orange logo&#10;&#10;Description automatically generated">
            <a:extLst>
              <a:ext uri="{FF2B5EF4-FFF2-40B4-BE49-F238E27FC236}">
                <a16:creationId xmlns:a16="http://schemas.microsoft.com/office/drawing/2014/main" id="{C2A3DC06-A248-910C-BE4A-C916756806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188" y="5943600"/>
            <a:ext cx="2432050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870383C2-7656-FC7F-66B8-916C097FCEA7}"/>
              </a:ext>
            </a:extLst>
          </p:cNvPr>
          <p:cNvPicPr preferRelativeResize="0"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5"/>
          <a:stretch>
            <a:fillRect/>
          </a:stretch>
        </p:blipFill>
        <p:spPr bwMode="auto">
          <a:xfrm>
            <a:off x="5187950" y="-14288"/>
            <a:ext cx="46038" cy="688340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69163">
                <a:alpha val="43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EAE5BE37-2D5C-4F9D-EC0E-B01E6616AEAC}"/>
              </a:ext>
            </a:extLst>
          </p:cNvPr>
          <p:cNvPicPr preferRelativeResize="0"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5"/>
          <a:stretch>
            <a:fillRect/>
          </a:stretch>
        </p:blipFill>
        <p:spPr bwMode="auto">
          <a:xfrm>
            <a:off x="669925" y="0"/>
            <a:ext cx="46038" cy="686593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69163">
                <a:alpha val="43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E4059FD-FABF-985C-1EFD-8E12B0A25D6C}"/>
              </a:ext>
            </a:extLst>
          </p:cNvPr>
          <p:cNvSpPr txBox="1">
            <a:spLocks/>
          </p:cNvSpPr>
          <p:nvPr userDrawn="1"/>
        </p:nvSpPr>
        <p:spPr>
          <a:xfrm>
            <a:off x="11819609" y="6591101"/>
            <a:ext cx="598419" cy="359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115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pper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6AF9B727-DE68-F75E-B10C-A6A9B3897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5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75A6D313-53B0-28B6-1C05-A1730A6659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8EBC196-5E16-6B02-641C-95AE459A29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25229"/>
            <a:ext cx="8779076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791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2063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pper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8C418763-0FEF-737E-E25A-7971C95E348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/>
          <a:srcRect l="-1870" t="33636" r="42549" b="58009"/>
          <a:stretch/>
        </p:blipFill>
        <p:spPr bwMode="auto">
          <a:xfrm>
            <a:off x="0" y="0"/>
            <a:ext cx="12212638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6AF9B727-DE68-F75E-B10C-A6A9B3897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5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75A6D313-53B0-28B6-1C05-A1730A6659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8EBC196-5E16-6B02-641C-95AE459A29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25229"/>
            <a:ext cx="8779076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</p:spTree>
    <p:extLst>
      <p:ext uri="{BB962C8B-B14F-4D97-AF65-F5344CB8AC3E}">
        <p14:creationId xmlns:p14="http://schemas.microsoft.com/office/powerpoint/2010/main" val="1290144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pper Title and subtitle-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08B455C5-DE9D-989B-2CDB-F9095333D42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/>
          <a:srcRect l="-1870" t="33636" r="42549" b="58009"/>
          <a:stretch/>
        </p:blipFill>
        <p:spPr bwMode="auto">
          <a:xfrm>
            <a:off x="0" y="0"/>
            <a:ext cx="12212638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CFC8A47B-675D-D263-44E1-B85994A203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7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2B468AB1-5018-50CB-281E-0E9A15118F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8175B4-E830-8371-1EBE-C245C8F3EB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73355"/>
            <a:ext cx="8677824" cy="3929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791" y="1519518"/>
            <a:ext cx="10572316" cy="446442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A236EC8-4CCB-F3A2-8D2E-C104B12B27F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29241" y="766259"/>
            <a:ext cx="8667316" cy="31184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30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43A4F8-324D-62EA-D0D8-312153B6EBC5}"/>
              </a:ext>
            </a:extLst>
          </p:cNvPr>
          <p:cNvSpPr/>
          <p:nvPr userDrawn="1"/>
        </p:nvSpPr>
        <p:spPr>
          <a:xfrm>
            <a:off x="0" y="-1"/>
            <a:ext cx="12184379" cy="113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204" y="271012"/>
            <a:ext cx="8865017" cy="67538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89" y="1514479"/>
            <a:ext cx="11218782" cy="446442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3D21C9-65C8-0EDB-5A82-5AC63EEAC410}"/>
              </a:ext>
            </a:extLst>
          </p:cNvPr>
          <p:cNvGrpSpPr/>
          <p:nvPr userDrawn="1"/>
        </p:nvGrpSpPr>
        <p:grpSpPr>
          <a:xfrm>
            <a:off x="-6252" y="151"/>
            <a:ext cx="12198251" cy="1181100"/>
            <a:chOff x="0" y="0"/>
            <a:chExt cx="12188952" cy="1181100"/>
          </a:xfrm>
        </p:grpSpPr>
        <p:pic>
          <p:nvPicPr>
            <p:cNvPr id="4" name="Picture 15" descr="A close up of a brown surface&#10;&#10;Description automatically generated">
              <a:extLst>
                <a:ext uri="{FF2B5EF4-FFF2-40B4-BE49-F238E27FC236}">
                  <a16:creationId xmlns:a16="http://schemas.microsoft.com/office/drawing/2014/main" id="{79B9FD42-71FA-1939-0F06-7F2B2FA33F8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46" r="37305" b="26671"/>
            <a:stretch>
              <a:fillRect/>
            </a:stretch>
          </p:blipFill>
          <p:spPr bwMode="auto">
            <a:xfrm>
              <a:off x="9297988" y="0"/>
              <a:ext cx="2890837" cy="1135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E7900E8-BD19-BDFC-8C25-92EC3F2C030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9100" y="381000"/>
              <a:ext cx="1497013" cy="54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A brown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53392FDB-F35E-17B0-9F54-8DF6C591B57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9" t="18593" r="-19820"/>
            <a:stretch>
              <a:fillRect/>
            </a:stretch>
          </p:blipFill>
          <p:spPr bwMode="auto">
            <a:xfrm>
              <a:off x="4445" y="3175"/>
              <a:ext cx="984250" cy="804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578A3694-DDAF-B267-12D7-8A05B431157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0713" y="65088"/>
              <a:ext cx="1876425" cy="130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A white surface with a brown surface&#10;&#10;Description automatically generated with medium confidence">
              <a:extLst>
                <a:ext uri="{FF2B5EF4-FFF2-40B4-BE49-F238E27FC236}">
                  <a16:creationId xmlns:a16="http://schemas.microsoft.com/office/drawing/2014/main" id="{0A0F954D-4544-6E49-6D70-94740E3C9079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9"/>
            <a:srcRect t="76875"/>
            <a:stretch/>
          </p:blipFill>
          <p:spPr>
            <a:xfrm>
              <a:off x="0" y="1135063"/>
              <a:ext cx="12188952" cy="46037"/>
            </a:xfrm>
            <a:prstGeom prst="rect">
              <a:avLst/>
            </a:prstGeom>
            <a:effectLst>
              <a:outerShdw blurRad="50800" dist="38100" dir="2700000" algn="tl" rotWithShape="0">
                <a:srgbClr val="F69163">
                  <a:alpha val="44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8098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white head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43A4F8-324D-62EA-D0D8-312153B6EBC5}"/>
              </a:ext>
            </a:extLst>
          </p:cNvPr>
          <p:cNvSpPr/>
          <p:nvPr userDrawn="1"/>
        </p:nvSpPr>
        <p:spPr>
          <a:xfrm>
            <a:off x="0" y="-1"/>
            <a:ext cx="12184379" cy="113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204" y="271012"/>
            <a:ext cx="8865017" cy="67538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3D21C9-65C8-0EDB-5A82-5AC63EEAC410}"/>
              </a:ext>
            </a:extLst>
          </p:cNvPr>
          <p:cNvGrpSpPr/>
          <p:nvPr userDrawn="1"/>
        </p:nvGrpSpPr>
        <p:grpSpPr>
          <a:xfrm>
            <a:off x="-6252" y="151"/>
            <a:ext cx="12198251" cy="1181100"/>
            <a:chOff x="0" y="0"/>
            <a:chExt cx="12188952" cy="1181100"/>
          </a:xfrm>
        </p:grpSpPr>
        <p:pic>
          <p:nvPicPr>
            <p:cNvPr id="4" name="Picture 15" descr="A close up of a brown surface&#10;&#10;Description automatically generated">
              <a:extLst>
                <a:ext uri="{FF2B5EF4-FFF2-40B4-BE49-F238E27FC236}">
                  <a16:creationId xmlns:a16="http://schemas.microsoft.com/office/drawing/2014/main" id="{79B9FD42-71FA-1939-0F06-7F2B2FA33F8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46" r="37305" b="26671"/>
            <a:stretch>
              <a:fillRect/>
            </a:stretch>
          </p:blipFill>
          <p:spPr bwMode="auto">
            <a:xfrm>
              <a:off x="9297988" y="0"/>
              <a:ext cx="2890837" cy="1135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E7900E8-BD19-BDFC-8C25-92EC3F2C030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9100" y="381000"/>
              <a:ext cx="1497013" cy="54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A brown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53392FDB-F35E-17B0-9F54-8DF6C591B57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9" t="18593" r="-19820"/>
            <a:stretch>
              <a:fillRect/>
            </a:stretch>
          </p:blipFill>
          <p:spPr bwMode="auto">
            <a:xfrm>
              <a:off x="4445" y="3175"/>
              <a:ext cx="984250" cy="804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578A3694-DDAF-B267-12D7-8A05B431157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0713" y="65088"/>
              <a:ext cx="1876425" cy="130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A white surface with a brown surface&#10;&#10;Description automatically generated with medium confidence">
              <a:extLst>
                <a:ext uri="{FF2B5EF4-FFF2-40B4-BE49-F238E27FC236}">
                  <a16:creationId xmlns:a16="http://schemas.microsoft.com/office/drawing/2014/main" id="{0A0F954D-4544-6E49-6D70-94740E3C9079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9"/>
            <a:srcRect t="76875"/>
            <a:stretch/>
          </p:blipFill>
          <p:spPr>
            <a:xfrm>
              <a:off x="0" y="1135063"/>
              <a:ext cx="12188952" cy="46037"/>
            </a:xfrm>
            <a:prstGeom prst="rect">
              <a:avLst/>
            </a:prstGeom>
            <a:effectLst>
              <a:outerShdw blurRad="50800" dist="38100" dir="2700000" algn="tl" rotWithShape="0">
                <a:srgbClr val="F69163">
                  <a:alpha val="44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14502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subtitle -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043C15B-C4E7-4CB7-128D-0665A4F0CF18}"/>
              </a:ext>
            </a:extLst>
          </p:cNvPr>
          <p:cNvSpPr/>
          <p:nvPr userDrawn="1"/>
        </p:nvSpPr>
        <p:spPr>
          <a:xfrm>
            <a:off x="0" y="-1"/>
            <a:ext cx="12184379" cy="113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2C42C6-2DD0-949E-D1C9-8CB1396CA075}"/>
              </a:ext>
            </a:extLst>
          </p:cNvPr>
          <p:cNvGrpSpPr/>
          <p:nvPr userDrawn="1"/>
        </p:nvGrpSpPr>
        <p:grpSpPr>
          <a:xfrm>
            <a:off x="-6252" y="151"/>
            <a:ext cx="12198251" cy="1181100"/>
            <a:chOff x="0" y="0"/>
            <a:chExt cx="12188952" cy="1181100"/>
          </a:xfrm>
        </p:grpSpPr>
        <p:pic>
          <p:nvPicPr>
            <p:cNvPr id="13" name="Picture 15" descr="A close up of a brown surface&#10;&#10;Description automatically generated">
              <a:extLst>
                <a:ext uri="{FF2B5EF4-FFF2-40B4-BE49-F238E27FC236}">
                  <a16:creationId xmlns:a16="http://schemas.microsoft.com/office/drawing/2014/main" id="{58BD7A05-BAFB-8044-0445-E564223739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46" r="37305" b="26671"/>
            <a:stretch>
              <a:fillRect/>
            </a:stretch>
          </p:blipFill>
          <p:spPr bwMode="auto">
            <a:xfrm>
              <a:off x="9297988" y="0"/>
              <a:ext cx="2890837" cy="1135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D73D086E-69BC-0746-9A2A-61D44AB763A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9100" y="381000"/>
              <a:ext cx="1497013" cy="54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3" descr="A brown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2078CBEE-97E4-1FAA-16BB-899F8DB958D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9" t="18593" r="-19820"/>
            <a:stretch>
              <a:fillRect/>
            </a:stretch>
          </p:blipFill>
          <p:spPr bwMode="auto">
            <a:xfrm>
              <a:off x="4445" y="3175"/>
              <a:ext cx="984250" cy="804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8">
              <a:extLst>
                <a:ext uri="{FF2B5EF4-FFF2-40B4-BE49-F238E27FC236}">
                  <a16:creationId xmlns:a16="http://schemas.microsoft.com/office/drawing/2014/main" id="{F0A8A535-35EC-56CC-C5E8-5220511D6B5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0713" y="65088"/>
              <a:ext cx="1876425" cy="130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17" descr="A white surface with a brown surface&#10;&#10;Description automatically generated with medium confidence">
              <a:extLst>
                <a:ext uri="{FF2B5EF4-FFF2-40B4-BE49-F238E27FC236}">
                  <a16:creationId xmlns:a16="http://schemas.microsoft.com/office/drawing/2014/main" id="{4EB8A0DD-26E3-51D1-E930-8135CC809E61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7"/>
            <a:srcRect t="76875"/>
            <a:stretch/>
          </p:blipFill>
          <p:spPr>
            <a:xfrm>
              <a:off x="0" y="1135063"/>
              <a:ext cx="12188952" cy="46037"/>
            </a:xfrm>
            <a:prstGeom prst="rect">
              <a:avLst/>
            </a:prstGeom>
            <a:effectLst>
              <a:outerShdw blurRad="50800" dist="38100" dir="2700000" algn="tl" rotWithShape="0">
                <a:srgbClr val="F69163">
                  <a:alpha val="44000"/>
                </a:srgbClr>
              </a:outerShdw>
            </a:effectLst>
          </p:spPr>
        </p:pic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73355"/>
            <a:ext cx="8677824" cy="3929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241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A236EC8-4CCB-F3A2-8D2E-C104B12B27F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29241" y="766259"/>
            <a:ext cx="8667316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29276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5.jp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F4540544-B2EC-682E-70CB-ED2841E3EC0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1"/>
          <a:srcRect l="-1870" t="33636" r="42549" b="58009"/>
          <a:stretch/>
        </p:blipFill>
        <p:spPr bwMode="auto">
          <a:xfrm>
            <a:off x="0" y="0"/>
            <a:ext cx="12212638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92" imgH="595" progId="TCLayout.ActiveDocument.1">
                  <p:embed/>
                </p:oleObj>
              </mc:Choice>
              <mc:Fallback>
                <p:oleObj name="think-cell Slide" r:id="rId22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23589" y="6493998"/>
            <a:ext cx="3002395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49399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23589" y="270861"/>
            <a:ext cx="869153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23589" y="1514479"/>
            <a:ext cx="10774795" cy="466248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01FB32A-195F-447B-93AB-5EBC804B0022}"/>
              </a:ext>
            </a:extLst>
          </p:cNvPr>
          <p:cNvSpPr txBox="1">
            <a:spLocks/>
          </p:cNvSpPr>
          <p:nvPr userDrawn="1"/>
        </p:nvSpPr>
        <p:spPr>
          <a:xfrm>
            <a:off x="11837715" y="6591102"/>
            <a:ext cx="372391" cy="2680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A545FE2-DEF4-4BC2-9058-BF1DA4AEB4E3}" type="slidenum">
              <a:rPr lang="en-US" smtClean="0">
                <a:solidFill>
                  <a:schemeClr val="tx1"/>
                </a:solidFill>
              </a:rPr>
              <a:pPr algn="r"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7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736B7674-75E0-A7A2-8762-2F15245D62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8366DFF-EFC5-93F1-488F-F1F17F7ADC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C2AA732A-0401-177F-646E-7A12D6CF0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3076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51" r:id="rId2"/>
    <p:sldLayoutId id="2147483706" r:id="rId3"/>
    <p:sldLayoutId id="2147483757" r:id="rId4"/>
    <p:sldLayoutId id="2147483762" r:id="rId5"/>
    <p:sldLayoutId id="2147483756" r:id="rId6"/>
    <p:sldLayoutId id="2147483707" r:id="rId7"/>
    <p:sldLayoutId id="2147483763" r:id="rId8"/>
    <p:sldLayoutId id="2147483758" r:id="rId9"/>
    <p:sldLayoutId id="2147483741" r:id="rId10"/>
    <p:sldLayoutId id="2147483759" r:id="rId11"/>
    <p:sldLayoutId id="2147483725" r:id="rId12"/>
    <p:sldLayoutId id="2147483761" r:id="rId13"/>
    <p:sldLayoutId id="2147483709" r:id="rId14"/>
    <p:sldLayoutId id="2147483760" r:id="rId15"/>
    <p:sldLayoutId id="2147483732" r:id="rId16"/>
    <p:sldLayoutId id="2147483769" r:id="rId17"/>
    <p:sldLayoutId id="2147483770" r:id="rId18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bg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BB5D00"/>
        </a:buClr>
        <a:buSzPct val="110000"/>
        <a:buFont typeface="Arial" panose="020B0604020202020204" pitchFamily="34" charset="0"/>
        <a:buChar char="•"/>
        <a:defRPr lang="en-US" sz="24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2865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Font typeface="Arial" panose="020B0604020202020204" pitchFamily="34" charset="0"/>
        <a:buChar char="‒"/>
        <a:defRPr lang="en-US" sz="22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804862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SzPct val="80000"/>
        <a:buFont typeface="Courier New" panose="02070309020205020404" pitchFamily="49" charset="0"/>
        <a:buChar char="o"/>
        <a:defRPr lang="en-US" sz="20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1027113" indent="-338138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SzPct val="90000"/>
        <a:buFont typeface="Arial" panose="020B0604020202020204" pitchFamily="34" charset="0"/>
        <a:buChar char="•"/>
        <a:defRPr lang="en-US" sz="18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1254125" indent="-339725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Font typeface="Arial" panose="020B0604020202020204" pitchFamily="34" charset="0"/>
        <a:buChar char="–"/>
        <a:defRPr lang="en-US" sz="1600" b="0" i="0" kern="1200" dirty="0" smtClean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publicportal.fmi.com/CerroVerdeStandard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5DCEA-11FB-375E-BA08-3B2B59711278}"/>
              </a:ext>
            </a:extLst>
          </p:cNvPr>
          <p:cNvSpPr txBox="1">
            <a:spLocks noChangeArrowheads="1"/>
          </p:cNvSpPr>
          <p:nvPr/>
        </p:nvSpPr>
        <p:spPr>
          <a:xfrm>
            <a:off x="461139" y="2479675"/>
            <a:ext cx="7618992" cy="20245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endParaRPr lang="en-US" altLang="en-US" sz="2800" dirty="0">
              <a:solidFill>
                <a:schemeClr val="bg1"/>
              </a:solidFill>
              <a:latin typeface="Abadi" panose="020B0604020104020204" pitchFamily="34" charset="0"/>
            </a:endParaRPr>
          </a:p>
          <a:p>
            <a:r>
              <a:rPr lang="en-US" altLang="en-US" sz="2800" dirty="0">
                <a:solidFill>
                  <a:schemeClr val="bg1"/>
                </a:solidFill>
                <a:latin typeface="Abadi" panose="020B0604020104020204" pitchFamily="34" charset="0"/>
              </a:rPr>
              <a:t>AUDITORIA INTERNA – </a:t>
            </a:r>
          </a:p>
          <a:p>
            <a:r>
              <a:rPr lang="en-US" altLang="en-US" sz="2800" dirty="0">
                <a:solidFill>
                  <a:schemeClr val="bg1"/>
                </a:solidFill>
                <a:latin typeface="Abadi" panose="020B0604020104020204" pitchFamily="34" charset="0"/>
              </a:rPr>
              <a:t>GESTIÓN DE INCIDENTES DE SEGURIDAD</a:t>
            </a:r>
          </a:p>
          <a:p>
            <a:endParaRPr lang="en-US" altLang="en-US" sz="2800" dirty="0">
              <a:solidFill>
                <a:schemeClr val="bg1"/>
              </a:solidFill>
              <a:latin typeface="Abadi" panose="020B0604020104020204" pitchFamily="34" charset="0"/>
            </a:endParaRPr>
          </a:p>
          <a:p>
            <a:r>
              <a:rPr lang="en-US" altLang="en-US" sz="2800" dirty="0">
                <a:solidFill>
                  <a:schemeClr val="bg1"/>
                </a:solidFill>
                <a:latin typeface="Abadi" panose="020B0604020104020204" pitchFamily="34" charset="0"/>
              </a:rPr>
              <a:t>MATERIAL DE REFORZAMIENTO EECC</a:t>
            </a:r>
          </a:p>
          <a:p>
            <a:endParaRPr lang="en-US" altLang="en-US" sz="2800" dirty="0">
              <a:solidFill>
                <a:schemeClr val="bg1"/>
              </a:solidFill>
              <a:latin typeface="Abadi" panose="020B0604020104020204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9A7A5CC-C7F1-1A88-CF54-31D5B8150F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2" y="4777669"/>
            <a:ext cx="55006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BB5D00"/>
              </a:buClr>
              <a:buSzPct val="11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en-US" altLang="en-US" sz="1800" dirty="0" err="1">
                <a:solidFill>
                  <a:schemeClr val="bg1"/>
                </a:solidFill>
                <a:latin typeface="Abadi" panose="020B0604020104020204" pitchFamily="34" charset="0"/>
              </a:rPr>
              <a:t>Enero</a:t>
            </a:r>
            <a:r>
              <a:rPr lang="en-US" altLang="en-US" sz="1800" dirty="0">
                <a:solidFill>
                  <a:schemeClr val="bg1"/>
                </a:solidFill>
                <a:latin typeface="Abadi" panose="020B0604020104020204" pitchFamily="34" charset="0"/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19116344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5DCEA-11FB-375E-BA08-3B2B59711278}"/>
              </a:ext>
            </a:extLst>
          </p:cNvPr>
          <p:cNvSpPr txBox="1">
            <a:spLocks noChangeArrowheads="1"/>
          </p:cNvSpPr>
          <p:nvPr/>
        </p:nvSpPr>
        <p:spPr>
          <a:xfrm>
            <a:off x="399593" y="2963252"/>
            <a:ext cx="7618992" cy="7985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en-US" sz="2800" dirty="0">
                <a:solidFill>
                  <a:schemeClr val="bg1"/>
                </a:solidFill>
                <a:latin typeface="Abadi" panose="020B0604020104020204" pitchFamily="34" charset="0"/>
              </a:rPr>
              <a:t>CONOCE MÁS ACERCA DE NUESTRA GESTIÓN DE INCIDENTES</a:t>
            </a:r>
          </a:p>
        </p:txBody>
      </p:sp>
    </p:spTree>
    <p:extLst>
      <p:ext uri="{BB962C8B-B14F-4D97-AF65-F5344CB8AC3E}">
        <p14:creationId xmlns:p14="http://schemas.microsoft.com/office/powerpoint/2010/main" val="1685050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990A3-0943-40C0-F3B0-629CBC8B66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240" y="253713"/>
            <a:ext cx="7620000" cy="854647"/>
          </a:xfrm>
        </p:spPr>
        <p:txBody>
          <a:bodyPr/>
          <a:lstStyle/>
          <a:p>
            <a:r>
              <a:rPr lang="es-PE" dirty="0">
                <a:latin typeface="Abadi" panose="020B0604020104020204" pitchFamily="34" charset="0"/>
              </a:rPr>
              <a:t>REPORTE DIARIO DE INCIDENTES DE SEGURID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D58C2-8B8F-B421-F3E4-DA61601E4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613D88F-83F3-CABE-03A4-A1BE8A533B53}"/>
              </a:ext>
            </a:extLst>
          </p:cNvPr>
          <p:cNvGrpSpPr/>
          <p:nvPr/>
        </p:nvGrpSpPr>
        <p:grpSpPr>
          <a:xfrm>
            <a:off x="396240" y="1288705"/>
            <a:ext cx="4504220" cy="5127328"/>
            <a:chOff x="7447684" y="1288705"/>
            <a:chExt cx="4504220" cy="512732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B20A15D-1831-28E0-AFDA-CC489A3549DA}"/>
                </a:ext>
              </a:extLst>
            </p:cNvPr>
            <p:cNvSpPr/>
            <p:nvPr/>
          </p:nvSpPr>
          <p:spPr>
            <a:xfrm>
              <a:off x="7635256" y="1288705"/>
              <a:ext cx="4082715" cy="1830574"/>
            </a:xfrm>
            <a:prstGeom prst="roundRect">
              <a:avLst/>
            </a:prstGeom>
            <a:solidFill>
              <a:srgbClr val="C68B69"/>
            </a:solidFill>
            <a:ln>
              <a:solidFill>
                <a:srgbClr val="C68B6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600" b="1" dirty="0">
                  <a:solidFill>
                    <a:schemeClr val="bg1"/>
                  </a:solidFill>
                  <a:latin typeface="Poppins Light" panose="00000400000000000000" pitchFamily="2" charset="0"/>
                  <a:cs typeface="Poppins Light" panose="00000400000000000000" pitchFamily="2" charset="0"/>
                </a:rPr>
                <a:t>Todas las mañanas el área de SSO se envía el reporte “La Producción segura es importante” donde se encuentra la charla diaria, los incidentes reportados y estadística de incidentes.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3F01ADC-7E88-C9DA-3EA2-A70FE88DA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47684" y="3520908"/>
              <a:ext cx="2076938" cy="289512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38B730C-D039-19B4-806E-692812D4A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676614" y="3520908"/>
              <a:ext cx="2275290" cy="289512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1466051-E3EF-4C2F-F9D9-89BEDDD2F594}"/>
              </a:ext>
            </a:extLst>
          </p:cNvPr>
          <p:cNvGrpSpPr/>
          <p:nvPr/>
        </p:nvGrpSpPr>
        <p:grpSpPr>
          <a:xfrm>
            <a:off x="4925894" y="1377124"/>
            <a:ext cx="7261891" cy="5458653"/>
            <a:chOff x="-115499" y="1399347"/>
            <a:chExt cx="7261891" cy="545865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079B861-C062-DD81-1979-FA3BEB730B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856" t="4998" r="76860" b="7013"/>
            <a:stretch/>
          </p:blipFill>
          <p:spPr>
            <a:xfrm>
              <a:off x="-115499" y="1399347"/>
              <a:ext cx="7261891" cy="545865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AF86990-D704-F68C-EE2F-A57F9614F2EB}"/>
                </a:ext>
              </a:extLst>
            </p:cNvPr>
            <p:cNvSpPr/>
            <p:nvPr/>
          </p:nvSpPr>
          <p:spPr>
            <a:xfrm>
              <a:off x="415986" y="1780297"/>
              <a:ext cx="6198920" cy="32974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24414E1-5708-BC1B-1A0C-9A8D228BC414}"/>
                </a:ext>
              </a:extLst>
            </p:cNvPr>
            <p:cNvGrpSpPr/>
            <p:nvPr/>
          </p:nvGrpSpPr>
          <p:grpSpPr>
            <a:xfrm>
              <a:off x="1695559" y="1804047"/>
              <a:ext cx="3411760" cy="3245138"/>
              <a:chOff x="901189" y="1516260"/>
              <a:chExt cx="5074455" cy="4990918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F04550BE-C41C-29C9-C7D5-77142109DD53}"/>
                  </a:ext>
                </a:extLst>
              </p:cNvPr>
              <p:cNvGrpSpPr/>
              <p:nvPr/>
            </p:nvGrpSpPr>
            <p:grpSpPr>
              <a:xfrm>
                <a:off x="1197262" y="1516260"/>
                <a:ext cx="4778382" cy="4990918"/>
                <a:chOff x="1197262" y="1516260"/>
                <a:chExt cx="4778382" cy="4990918"/>
              </a:xfrm>
            </p:grpSpPr>
            <p:pic>
              <p:nvPicPr>
                <p:cNvPr id="1028" name="Picture 4">
                  <a:extLst>
                    <a:ext uri="{FF2B5EF4-FFF2-40B4-BE49-F238E27FC236}">
                      <a16:creationId xmlns:a16="http://schemas.microsoft.com/office/drawing/2014/main" id="{E33DB0A0-5C6A-F08A-F04C-629F8A66187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97262" y="1516260"/>
                  <a:ext cx="4778382" cy="4990918"/>
                </a:xfrm>
                <a:prstGeom prst="rect">
                  <a:avLst/>
                </a:prstGeom>
                <a:ln w="19050" cap="sq">
                  <a:solidFill>
                    <a:srgbClr val="7D6250"/>
                  </a:solidFill>
                  <a:prstDash val="solid"/>
                  <a:miter lim="800000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" name="Rectangle: Rounded Corners 4">
                  <a:extLst>
                    <a:ext uri="{FF2B5EF4-FFF2-40B4-BE49-F238E27FC236}">
                      <a16:creationId xmlns:a16="http://schemas.microsoft.com/office/drawing/2014/main" id="{75129168-3700-2A16-D025-65CD1FCFF45A}"/>
                    </a:ext>
                  </a:extLst>
                </p:cNvPr>
                <p:cNvSpPr/>
                <p:nvPr/>
              </p:nvSpPr>
              <p:spPr>
                <a:xfrm>
                  <a:off x="1220280" y="2325760"/>
                  <a:ext cx="2482621" cy="380010"/>
                </a:xfrm>
                <a:prstGeom prst="roundRect">
                  <a:avLst/>
                </a:prstGeom>
                <a:noFill/>
                <a:ln w="38100">
                  <a:solidFill>
                    <a:schemeClr val="accent6"/>
                  </a:solidFill>
                </a:ln>
              </p:spPr>
              <p:style>
                <a:lnRef idx="2">
                  <a:schemeClr val="accent6"/>
                </a:lnRef>
                <a:fillRef idx="1">
                  <a:schemeClr val="lt1"/>
                </a:fillRef>
                <a:effectRef idx="0">
                  <a:schemeClr val="accent6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8" name="Straight Arrow Connector 7">
                <a:extLst>
                  <a:ext uri="{FF2B5EF4-FFF2-40B4-BE49-F238E27FC236}">
                    <a16:creationId xmlns:a16="http://schemas.microsoft.com/office/drawing/2014/main" id="{601CF9F4-0D52-57F9-AC9A-9223A64D9F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1189" y="2410691"/>
                <a:ext cx="260447" cy="0"/>
              </a:xfrm>
              <a:prstGeom prst="straightConnector1">
                <a:avLst/>
              </a:prstGeom>
              <a:ln w="38100">
                <a:solidFill>
                  <a:srgbClr val="0088BA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CEE385D-E595-8CAB-026D-489C5792E15F}"/>
              </a:ext>
            </a:extLst>
          </p:cNvPr>
          <p:cNvSpPr/>
          <p:nvPr/>
        </p:nvSpPr>
        <p:spPr>
          <a:xfrm>
            <a:off x="5760621" y="2137852"/>
            <a:ext cx="947149" cy="503353"/>
          </a:xfrm>
          <a:prstGeom prst="roundRect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 err="1">
                <a:solidFill>
                  <a:schemeClr val="tx2"/>
                </a:solidFill>
              </a:rPr>
              <a:t>Reporte</a:t>
            </a:r>
            <a:r>
              <a:rPr lang="en-US" sz="1400" b="1" dirty="0">
                <a:solidFill>
                  <a:schemeClr val="tx2"/>
                </a:solidFill>
              </a:rPr>
              <a:t> </a:t>
            </a:r>
            <a:r>
              <a:rPr lang="en-US" sz="1400" b="1" dirty="0" err="1">
                <a:solidFill>
                  <a:schemeClr val="tx2"/>
                </a:solidFill>
              </a:rPr>
              <a:t>Diario</a:t>
            </a:r>
            <a:endParaRPr lang="en-US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7088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DA5F819D-89B6-B121-879F-E688F5CD9E25}"/>
              </a:ext>
            </a:extLst>
          </p:cNvPr>
          <p:cNvSpPr txBox="1"/>
          <p:nvPr/>
        </p:nvSpPr>
        <p:spPr>
          <a:xfrm>
            <a:off x="1775156" y="5292374"/>
            <a:ext cx="864168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rgbClr val="71594A"/>
                </a:solidFill>
                <a:latin typeface="Poppins SemiBold" panose="00000700000000000000" pitchFamily="2" charset="0"/>
                <a:ea typeface="Open Sans" panose="020F0502020204030204" pitchFamily="34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es-PE" dirty="0"/>
              <a:t>A través del reporte semanal se mostrará la estadística de incidentes y  el SEGUIMIENTO a INFORMES DE INVESTIGACION Y ACCIONES CORRECTIVAS de incidentes. </a:t>
            </a:r>
          </a:p>
          <a:p>
            <a:pPr algn="ctr"/>
            <a:r>
              <a:rPr lang="es-PE" dirty="0"/>
              <a:t>COMO EECC el seguimiento se canaliza a través de cada ADMINISTRADOR DE CONTRATO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15F8AF-90E4-5089-CCA1-38D35B4F5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239" y="253713"/>
            <a:ext cx="10093675" cy="854647"/>
          </a:xfrm>
        </p:spPr>
        <p:txBody>
          <a:bodyPr/>
          <a:lstStyle/>
          <a:p>
            <a:r>
              <a:rPr lang="es-PE" dirty="0">
                <a:latin typeface="Abadi" panose="020B0604020104020204" pitchFamily="34" charset="0"/>
              </a:rPr>
              <a:t>SEGUIMIENTO DE INFORMES DE INVESTIGACION Y PLANES DE ACCIÓN</a:t>
            </a: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77173E2C-F529-D3E3-4351-52AD4DDD4D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1318" y="1448041"/>
            <a:ext cx="8289364" cy="3680564"/>
          </a:xfrm>
          <a:prstGeom prst="rect">
            <a:avLst/>
          </a:prstGeom>
          <a:ln w="38100" cap="sq">
            <a:solidFill>
              <a:srgbClr val="C68B69"/>
            </a:solidFill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49C8639-48B5-EB05-55E8-8845C139D44F}"/>
              </a:ext>
            </a:extLst>
          </p:cNvPr>
          <p:cNvSpPr/>
          <p:nvPr/>
        </p:nvSpPr>
        <p:spPr>
          <a:xfrm>
            <a:off x="1951318" y="2540000"/>
            <a:ext cx="927349" cy="2506133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D7D2A5-FD6C-2E75-DDBE-30498BB81BDB}"/>
              </a:ext>
            </a:extLst>
          </p:cNvPr>
          <p:cNvSpPr txBox="1"/>
          <p:nvPr/>
        </p:nvSpPr>
        <p:spPr>
          <a:xfrm>
            <a:off x="5538608" y="1871946"/>
            <a:ext cx="4009292" cy="36512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>
              <a:defRPr sz="1600">
                <a:solidFill>
                  <a:srgbClr val="71594A"/>
                </a:solidFill>
                <a:latin typeface="Poppins SemiBold" panose="00000700000000000000" pitchFamily="2" charset="0"/>
                <a:ea typeface="Open Sans" panose="020F0502020204030204" pitchFamily="34" charset="0"/>
                <a:cs typeface="Poppins SemiBold" panose="00000700000000000000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s-PE" dirty="0">
                <a:solidFill>
                  <a:schemeClr val="bg1"/>
                </a:solidFill>
              </a:rPr>
              <a:t>ESTADISTICA DE INCIDENTES</a:t>
            </a:r>
          </a:p>
        </p:txBody>
      </p:sp>
    </p:spTree>
    <p:extLst>
      <p:ext uri="{BB962C8B-B14F-4D97-AF65-F5344CB8AC3E}">
        <p14:creationId xmlns:p14="http://schemas.microsoft.com/office/powerpoint/2010/main" val="32932145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5DCEA-11FB-375E-BA08-3B2B59711278}"/>
              </a:ext>
            </a:extLst>
          </p:cNvPr>
          <p:cNvSpPr txBox="1">
            <a:spLocks noChangeArrowheads="1"/>
          </p:cNvSpPr>
          <p:nvPr/>
        </p:nvSpPr>
        <p:spPr>
          <a:xfrm>
            <a:off x="399593" y="2963252"/>
            <a:ext cx="7618992" cy="7985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en-US" sz="2800" dirty="0">
                <a:solidFill>
                  <a:schemeClr val="bg1"/>
                </a:solidFill>
                <a:latin typeface="Abadi" panose="020B0604020104020204" pitchFamily="34" charset="0"/>
              </a:rPr>
              <a:t>PROCESO DE ANÁLISIS DE PFE Y ALTOS RIESGOS DE FCX</a:t>
            </a:r>
          </a:p>
        </p:txBody>
      </p:sp>
    </p:spTree>
    <p:extLst>
      <p:ext uri="{BB962C8B-B14F-4D97-AF65-F5344CB8AC3E}">
        <p14:creationId xmlns:p14="http://schemas.microsoft.com/office/powerpoint/2010/main" val="13212867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DA5F819D-89B6-B121-879F-E688F5CD9E25}"/>
              </a:ext>
            </a:extLst>
          </p:cNvPr>
          <p:cNvSpPr txBox="1"/>
          <p:nvPr/>
        </p:nvSpPr>
        <p:spPr>
          <a:xfrm>
            <a:off x="7218764" y="1319990"/>
            <a:ext cx="4573433" cy="2030681"/>
          </a:xfrm>
          <a:prstGeom prst="roundRect">
            <a:avLst/>
          </a:prstGeom>
          <a:solidFill>
            <a:srgbClr val="C68B69"/>
          </a:solidFill>
          <a:ln>
            <a:solidFill>
              <a:srgbClr val="C68B69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just">
              <a:defRPr sz="1400">
                <a:solidFill>
                  <a:schemeClr val="bg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PE" sz="1600" dirty="0"/>
              <a:t>La corporación distribuye una notificación de PFE/Alto Potencial para su consideración y evaluación en todos los sitios. En Cerro Verde se difunde a las EECC y cada una de ellas lo analiza y de aplicar proponen planes de acción para evitar recurrencias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A6FBC7-B891-9920-4AE0-3144B176F24E}"/>
              </a:ext>
            </a:extLst>
          </p:cNvPr>
          <p:cNvSpPr txBox="1">
            <a:spLocks/>
          </p:cNvSpPr>
          <p:nvPr/>
        </p:nvSpPr>
        <p:spPr>
          <a:xfrm>
            <a:off x="396239" y="253713"/>
            <a:ext cx="10093675" cy="8546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en-US" sz="2200" dirty="0">
                <a:latin typeface="Abadi" panose="020B0604020104020204" pitchFamily="34" charset="0"/>
              </a:rPr>
              <a:t>PROCESO DE ANÁLISIS DE EVENTOS DE ALTO POTENCIAL/POTENCIAL FATAL CORPORATIVOS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D317E9B-CD27-2B49-5162-012E6C8B49F7}"/>
              </a:ext>
            </a:extLst>
          </p:cNvPr>
          <p:cNvGrpSpPr/>
          <p:nvPr/>
        </p:nvGrpSpPr>
        <p:grpSpPr>
          <a:xfrm>
            <a:off x="565193" y="1383241"/>
            <a:ext cx="6239368" cy="3293853"/>
            <a:chOff x="615218" y="1456276"/>
            <a:chExt cx="6046839" cy="3020722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600F055E-B3C1-A135-E9CF-ED727BCB9CE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836" b="23438"/>
            <a:stretch/>
          </p:blipFill>
          <p:spPr bwMode="auto">
            <a:xfrm>
              <a:off x="615218" y="1456276"/>
              <a:ext cx="6046839" cy="3020722"/>
            </a:xfrm>
            <a:prstGeom prst="rect">
              <a:avLst/>
            </a:prstGeom>
            <a:ln w="38100" cap="sq">
              <a:solidFill>
                <a:srgbClr val="C68B69"/>
              </a:solidFill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995B6DA9-D9C6-F723-B2E8-A243CDB78B28}"/>
                </a:ext>
              </a:extLst>
            </p:cNvPr>
            <p:cNvSpPr/>
            <p:nvPr/>
          </p:nvSpPr>
          <p:spPr>
            <a:xfrm>
              <a:off x="615218" y="2731325"/>
              <a:ext cx="2482621" cy="380010"/>
            </a:xfrm>
            <a:prstGeom prst="roundRect">
              <a:avLst/>
            </a:prstGeom>
            <a:noFill/>
            <a:ln w="38100">
              <a:solidFill>
                <a:schemeClr val="accent6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F8D7CA49-17F1-85EF-018F-054E12F591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29278" y="2921330"/>
              <a:ext cx="262878" cy="0"/>
            </a:xfrm>
            <a:prstGeom prst="straightConnector1">
              <a:avLst/>
            </a:prstGeom>
            <a:ln w="38100">
              <a:solidFill>
                <a:srgbClr val="0088B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661D71DB-2C99-4C8F-5BE7-0F1264F994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915" y="3592320"/>
            <a:ext cx="5306626" cy="2934514"/>
          </a:xfrm>
          <a:prstGeom prst="rect">
            <a:avLst/>
          </a:prstGeom>
          <a:ln w="38100">
            <a:solidFill>
              <a:srgbClr val="C68B69"/>
            </a:solidFill>
          </a:ln>
        </p:spPr>
      </p:pic>
    </p:spTree>
    <p:extLst>
      <p:ext uri="{BB962C8B-B14F-4D97-AF65-F5344CB8AC3E}">
        <p14:creationId xmlns:p14="http://schemas.microsoft.com/office/powerpoint/2010/main" val="5500988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42F24-2B50-450C-B8D4-569FA409148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99796" y="1599028"/>
            <a:ext cx="4478694" cy="2056182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dirty="0">
                <a:solidFill>
                  <a:srgbClr val="705949"/>
                </a:solidFill>
                <a:latin typeface="Poppins SemiBold" panose="00000700000000000000" pitchFamily="2" charset="0"/>
                <a:ea typeface="+mn-ea"/>
                <a:cs typeface="Poppins SemiBold" panose="00000700000000000000" pitchFamily="2" charset="0"/>
              </a:rPr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2739722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58F4497-DB4E-40DF-B3CA-D01A407AD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7356" y="1899137"/>
            <a:ext cx="5109883" cy="2846011"/>
          </a:xfrm>
          <a:prstGeom prst="rect">
            <a:avLst/>
          </a:prstGeom>
          <a:ln w="19050" cap="sq">
            <a:solidFill>
              <a:srgbClr val="C68B69"/>
            </a:solidFill>
            <a:prstDash val="solid"/>
            <a:miter lim="800000"/>
          </a:ln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000BB-01C3-44BA-816C-04CA7BEBCF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930" y="2006217"/>
            <a:ext cx="6414715" cy="4040077"/>
          </a:xfrm>
        </p:spPr>
        <p:txBody>
          <a:bodyPr/>
          <a:lstStyle/>
          <a:p>
            <a:pPr marL="372745" indent="-285750">
              <a:lnSpc>
                <a:spcPct val="200000"/>
              </a:lnSpc>
            </a:pPr>
            <a:r>
              <a:rPr lang="en-US" sz="1800" b="1" dirty="0">
                <a:solidFill>
                  <a:srgbClr val="C68B69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ECHA DE LA AUDITORIA: </a:t>
            </a:r>
            <a:r>
              <a:rPr lang="es-PE" sz="1800" dirty="0">
                <a:latin typeface="Poppins" panose="00000500000000000000" pitchFamily="2" charset="0"/>
                <a:cs typeface="Poppins" panose="00000500000000000000" pitchFamily="2" charset="0"/>
              </a:rPr>
              <a:t>28 – 31 Enero 2025</a:t>
            </a:r>
            <a:endParaRPr lang="en-US" sz="1800" spc="0" dirty="0">
              <a:effectLst/>
              <a:latin typeface="Poppins" panose="00000500000000000000" pitchFamily="2" charset="0"/>
              <a:ea typeface="Arial" panose="020B0604020202020204" pitchFamily="34" charset="0"/>
              <a:cs typeface="Poppins" panose="00000500000000000000" pitchFamily="2" charset="0"/>
            </a:endParaRPr>
          </a:p>
          <a:p>
            <a:pPr marL="372745" indent="-285750">
              <a:lnSpc>
                <a:spcPct val="200000"/>
              </a:lnSpc>
            </a:pPr>
            <a:r>
              <a:rPr lang="en-US" sz="1800" b="1" dirty="0">
                <a:solidFill>
                  <a:srgbClr val="C68B69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QUIPO AUDITOR: </a:t>
            </a:r>
            <a:r>
              <a:rPr lang="en-US" sz="1800" spc="0" dirty="0">
                <a:effectLst/>
                <a:latin typeface="Poppins" panose="00000500000000000000" pitchFamily="2" charset="0"/>
                <a:ea typeface="Arial" panose="020B0604020202020204" pitchFamily="34" charset="0"/>
                <a:cs typeface="Poppins" panose="00000500000000000000" pitchFamily="2" charset="0"/>
              </a:rPr>
              <a:t>03 AUDITORES DELOITTE</a:t>
            </a:r>
          </a:p>
          <a:p>
            <a:pPr marL="372745" indent="-285750">
              <a:lnSpc>
                <a:spcPct val="200000"/>
              </a:lnSpc>
            </a:pPr>
            <a:r>
              <a:rPr lang="en-US" sz="1800" b="1" dirty="0">
                <a:solidFill>
                  <a:srgbClr val="C68B69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DALIDAD: </a:t>
            </a:r>
            <a:r>
              <a:rPr lang="en-US" sz="1800" dirty="0">
                <a:latin typeface="Poppins" panose="00000500000000000000" pitchFamily="2" charset="0"/>
                <a:cs typeface="Poppins" panose="00000500000000000000" pitchFamily="2" charset="0"/>
              </a:rPr>
              <a:t>REVISIÓN DOCUMENTARIA, VISITAS A CAMPO, ENTREVISTA A TRABAJADORES PROPIOS Y TERCERO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CCD0179-02F2-8188-2F3C-5EC85CFAE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>
                <a:solidFill>
                  <a:schemeClr val="bg1"/>
                </a:solidFill>
                <a:latin typeface="Abadi" panose="020B0604020104020204" pitchFamily="34" charset="0"/>
              </a:rPr>
              <a:t>DATOS GENERALES:</a:t>
            </a:r>
          </a:p>
        </p:txBody>
      </p:sp>
      <p:sp>
        <p:nvSpPr>
          <p:cNvPr id="11" name="Multiplication Sign 10">
            <a:extLst>
              <a:ext uri="{FF2B5EF4-FFF2-40B4-BE49-F238E27FC236}">
                <a16:creationId xmlns:a16="http://schemas.microsoft.com/office/drawing/2014/main" id="{DB2AFE03-F3DA-ED5E-0F58-FB1B85F2393B}"/>
              </a:ext>
            </a:extLst>
          </p:cNvPr>
          <p:cNvSpPr/>
          <p:nvPr/>
        </p:nvSpPr>
        <p:spPr>
          <a:xfrm>
            <a:off x="8551825" y="4428625"/>
            <a:ext cx="342900" cy="316523"/>
          </a:xfrm>
          <a:prstGeom prst="mathMultiply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Multiplication Sign 11">
            <a:extLst>
              <a:ext uri="{FF2B5EF4-FFF2-40B4-BE49-F238E27FC236}">
                <a16:creationId xmlns:a16="http://schemas.microsoft.com/office/drawing/2014/main" id="{2A5F4AE4-3F90-D5B0-F07F-FF52C44102BB}"/>
              </a:ext>
            </a:extLst>
          </p:cNvPr>
          <p:cNvSpPr/>
          <p:nvPr/>
        </p:nvSpPr>
        <p:spPr>
          <a:xfrm>
            <a:off x="9288086" y="4428625"/>
            <a:ext cx="342900" cy="316523"/>
          </a:xfrm>
          <a:prstGeom prst="mathMultiply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3" name="Multiplication Sign 12">
            <a:extLst>
              <a:ext uri="{FF2B5EF4-FFF2-40B4-BE49-F238E27FC236}">
                <a16:creationId xmlns:a16="http://schemas.microsoft.com/office/drawing/2014/main" id="{C8A49855-0EE7-D7DF-868F-8404FC0A1B83}"/>
              </a:ext>
            </a:extLst>
          </p:cNvPr>
          <p:cNvSpPr/>
          <p:nvPr/>
        </p:nvSpPr>
        <p:spPr>
          <a:xfrm>
            <a:off x="10026685" y="4428624"/>
            <a:ext cx="342900" cy="316523"/>
          </a:xfrm>
          <a:prstGeom prst="mathMultiply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6" name="Multiplication Sign 5">
            <a:extLst>
              <a:ext uri="{FF2B5EF4-FFF2-40B4-BE49-F238E27FC236}">
                <a16:creationId xmlns:a16="http://schemas.microsoft.com/office/drawing/2014/main" id="{6C1E2C2E-24E6-2DB4-39F5-CB11C3842301}"/>
              </a:ext>
            </a:extLst>
          </p:cNvPr>
          <p:cNvSpPr/>
          <p:nvPr/>
        </p:nvSpPr>
        <p:spPr>
          <a:xfrm>
            <a:off x="10762946" y="4441005"/>
            <a:ext cx="342900" cy="316523"/>
          </a:xfrm>
          <a:prstGeom prst="mathMultiply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36975665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5DCEA-11FB-375E-BA08-3B2B59711278}"/>
              </a:ext>
            </a:extLst>
          </p:cNvPr>
          <p:cNvSpPr txBox="1">
            <a:spLocks noChangeArrowheads="1"/>
          </p:cNvSpPr>
          <p:nvPr/>
        </p:nvSpPr>
        <p:spPr>
          <a:xfrm>
            <a:off x="461139" y="2479675"/>
            <a:ext cx="7618992" cy="7985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en-US" sz="2800" dirty="0">
                <a:solidFill>
                  <a:schemeClr val="bg1"/>
                </a:solidFill>
                <a:latin typeface="Abadi" panose="020B0604020104020204" pitchFamily="34" charset="0"/>
              </a:rPr>
              <a:t>Plan de Auditoría SGSSO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19A7A5CC-C7F1-1A88-CF54-31D5B8150F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1139" y="4314825"/>
            <a:ext cx="55006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BB5D00"/>
              </a:buClr>
              <a:buSzPct val="11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en-US" altLang="en-US" sz="1800" dirty="0">
                <a:solidFill>
                  <a:schemeClr val="bg1"/>
                </a:solidFill>
                <a:latin typeface="Abadi" panose="020B0604020104020204" pitchFamily="34" charset="0"/>
              </a:rPr>
              <a:t>ENERO 2025</a:t>
            </a:r>
          </a:p>
        </p:txBody>
      </p:sp>
    </p:spTree>
    <p:extLst>
      <p:ext uri="{BB962C8B-B14F-4D97-AF65-F5344CB8AC3E}">
        <p14:creationId xmlns:p14="http://schemas.microsoft.com/office/powerpoint/2010/main" val="16783110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2CCD0179-02F2-8188-2F3C-5EC85CFAE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dirty="0">
                <a:solidFill>
                  <a:schemeClr val="bg1"/>
                </a:solidFill>
                <a:latin typeface="Abadi" panose="020B0604020104020204" pitchFamily="34" charset="0"/>
              </a:rPr>
              <a:t>PLAN DE AUDITORIA: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D3F4AE-BA85-6742-50F5-78F4CBDCE7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5275" y="1220321"/>
            <a:ext cx="4761449" cy="552478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091519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63E11-F3CC-18C3-E0AA-94D89D53A965}"/>
              </a:ext>
            </a:extLst>
          </p:cNvPr>
          <p:cNvSpPr txBox="1">
            <a:spLocks noChangeArrowheads="1"/>
          </p:cNvSpPr>
          <p:nvPr/>
        </p:nvSpPr>
        <p:spPr>
          <a:xfrm>
            <a:off x="461139" y="2479675"/>
            <a:ext cx="5922963" cy="7985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PE" altLang="en-US" sz="2800" dirty="0">
                <a:solidFill>
                  <a:schemeClr val="bg1"/>
                </a:solidFill>
              </a:rPr>
              <a:t>R</a:t>
            </a:r>
            <a:r>
              <a:rPr lang="en-US" altLang="en-US" sz="2800" dirty="0">
                <a:solidFill>
                  <a:schemeClr val="bg1"/>
                </a:solidFill>
              </a:rPr>
              <a:t>EPORTE DE INCIDENTES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0263C98-E602-FF2F-73CD-3834C4FA2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1139" y="4314825"/>
            <a:ext cx="55006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BB5D00"/>
              </a:buClr>
              <a:buSzPct val="11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15247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C1BF81-13E5-A3B7-DDB3-A7DEFBF6F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sz="2800" dirty="0"/>
              <a:t>REPORTE OPORTUNO DE INCIDEN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18DFF4-65D1-B828-8105-E7F110F917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47732" y="2440361"/>
            <a:ext cx="6378907" cy="3334372"/>
          </a:xfrm>
        </p:spPr>
        <p:txBody>
          <a:bodyPr/>
          <a:lstStyle/>
          <a:p>
            <a:pPr marL="0" indent="0" algn="just">
              <a:spcAft>
                <a:spcPts val="75"/>
              </a:spcAft>
              <a:buNone/>
            </a:pPr>
            <a:r>
              <a:rPr lang="es-PE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CUERDA:</a:t>
            </a:r>
          </a:p>
          <a:p>
            <a:pPr algn="just">
              <a:spcAft>
                <a:spcPts val="75"/>
              </a:spcAft>
            </a:pPr>
            <a:r>
              <a:rPr lang="es-PE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te cualquier duda respecto a si una situación o suceso anormal debe ser considerado como “incidente”, debes de consultar inmediatamente con tu supervisor inmediato y con el supervisor de seguridad del área. </a:t>
            </a:r>
            <a:endParaRPr lang="es-P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es-PE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presenciaste o estuviste involucrado en cualquier tipo de incidente, ya sea con </a:t>
            </a:r>
            <a:r>
              <a:rPr lang="es-PE" sz="18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ión, daño a la propiedad o cercano a pérdida</a:t>
            </a:r>
            <a:r>
              <a:rPr lang="es-PE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 obligatoriamente debes de comunicar a tu supervisor de forma inmediata y </a:t>
            </a:r>
            <a:r>
              <a:rPr lang="es-PE" sz="18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n ningún temor. </a:t>
            </a:r>
            <a:endParaRPr lang="es-PE" sz="1800" b="1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just">
              <a:buNone/>
            </a:pPr>
            <a:endParaRPr lang="es-PE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s-PE" sz="1800" b="1" dirty="0">
                <a:solidFill>
                  <a:schemeClr val="tx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l reportar un incidente brinda la oportunidad de poder realizar un análisis para identificar la causa raíz que lo originó y poder implementar las acciones correctivas y preventivas para prevenir su recurrencia.</a:t>
            </a:r>
            <a:endParaRPr lang="es-PE" sz="1800" b="1" dirty="0">
              <a:solidFill>
                <a:schemeClr val="tx2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s-P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AC5E42-767D-EFD0-DDAB-A8853102B791}"/>
              </a:ext>
            </a:extLst>
          </p:cNvPr>
          <p:cNvSpPr txBox="1"/>
          <p:nvPr/>
        </p:nvSpPr>
        <p:spPr>
          <a:xfrm>
            <a:off x="410004" y="1417829"/>
            <a:ext cx="113530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amos con el Procedimiento: SSOpr0004 Reporte y Análisis de Incidentes, para los lineamientos y metodología de reporte, investigación y análisis de incidentes en SMCV, aplica tanto a trabajadores propios  como </a:t>
            </a:r>
            <a:r>
              <a:rPr lang="es-PE" sz="1600" b="1" u="sng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rceros</a:t>
            </a:r>
            <a:r>
              <a:rPr lang="es-PE" sz="16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FFD62D-3AC5-9829-0CC1-5BF9091BF9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0065" y="2115132"/>
            <a:ext cx="3001083" cy="4417639"/>
          </a:xfrm>
          <a:prstGeom prst="rect">
            <a:avLst/>
          </a:prstGeom>
          <a:ln>
            <a:solidFill>
              <a:srgbClr val="7A604D"/>
            </a:solidFill>
          </a:ln>
        </p:spPr>
      </p:pic>
    </p:spTree>
    <p:extLst>
      <p:ext uri="{BB962C8B-B14F-4D97-AF65-F5344CB8AC3E}">
        <p14:creationId xmlns:p14="http://schemas.microsoft.com/office/powerpoint/2010/main" val="27757447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92387E-268B-9A1F-489C-1C5F9CFE8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55" y="366131"/>
            <a:ext cx="8779076" cy="60755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Gestion de Incidentes de SSO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6AD6B20-2D74-2DF7-EC9C-106593A8E0E1}"/>
              </a:ext>
            </a:extLst>
          </p:cNvPr>
          <p:cNvGrpSpPr/>
          <p:nvPr/>
        </p:nvGrpSpPr>
        <p:grpSpPr>
          <a:xfrm>
            <a:off x="1" y="1159949"/>
            <a:ext cx="11933246" cy="5040355"/>
            <a:chOff x="1" y="1159949"/>
            <a:chExt cx="11933246" cy="504035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6500A18-2D5D-CB2E-BAAC-8D90FDE3410C}"/>
                </a:ext>
              </a:extLst>
            </p:cNvPr>
            <p:cNvGrpSpPr/>
            <p:nvPr/>
          </p:nvGrpSpPr>
          <p:grpSpPr>
            <a:xfrm>
              <a:off x="1" y="1159949"/>
              <a:ext cx="11933246" cy="4177340"/>
              <a:chOff x="2333771" y="1718594"/>
              <a:chExt cx="19710110" cy="8365206"/>
            </a:xfrm>
          </p:grpSpPr>
          <p:sp>
            <p:nvSpPr>
              <p:cNvPr id="8" name="Freeform 3">
                <a:extLst>
                  <a:ext uri="{FF2B5EF4-FFF2-40B4-BE49-F238E27FC236}">
                    <a16:creationId xmlns:a16="http://schemas.microsoft.com/office/drawing/2014/main" id="{8F8C455B-312E-5151-6537-F78635B74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3771" y="3887148"/>
                <a:ext cx="3575631" cy="2444453"/>
              </a:xfrm>
              <a:custGeom>
                <a:avLst/>
                <a:gdLst>
                  <a:gd name="T0" fmla="*/ 2855 w 2856"/>
                  <a:gd name="T1" fmla="*/ 1250 h 1953"/>
                  <a:gd name="T2" fmla="*/ 2855 w 2856"/>
                  <a:gd name="T3" fmla="*/ 1250 h 1953"/>
                  <a:gd name="T4" fmla="*/ 1683 w 2856"/>
                  <a:gd name="T5" fmla="*/ 1503 h 1953"/>
                  <a:gd name="T6" fmla="*/ 1683 w 2856"/>
                  <a:gd name="T7" fmla="*/ 1503 h 1953"/>
                  <a:gd name="T8" fmla="*/ 563 w 2856"/>
                  <a:gd name="T9" fmla="*/ 1952 h 1953"/>
                  <a:gd name="T10" fmla="*/ 0 w 2856"/>
                  <a:gd name="T11" fmla="*/ 826 h 1953"/>
                  <a:gd name="T12" fmla="*/ 0 w 2856"/>
                  <a:gd name="T13" fmla="*/ 826 h 1953"/>
                  <a:gd name="T14" fmla="*/ 1311 w 2856"/>
                  <a:gd name="T15" fmla="*/ 299 h 1953"/>
                  <a:gd name="T16" fmla="*/ 1311 w 2856"/>
                  <a:gd name="T17" fmla="*/ 299 h 1953"/>
                  <a:gd name="T18" fmla="*/ 2699 w 2856"/>
                  <a:gd name="T19" fmla="*/ 0 h 1953"/>
                  <a:gd name="T20" fmla="*/ 2855 w 2856"/>
                  <a:gd name="T21" fmla="*/ 1250 h 19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56" h="1953">
                    <a:moveTo>
                      <a:pt x="2855" y="1250"/>
                    </a:moveTo>
                    <a:lnTo>
                      <a:pt x="2855" y="1250"/>
                    </a:lnTo>
                    <a:cubicBezTo>
                      <a:pt x="2458" y="1300"/>
                      <a:pt x="2066" y="1385"/>
                      <a:pt x="1683" y="1503"/>
                    </a:cubicBezTo>
                    <a:lnTo>
                      <a:pt x="1683" y="1503"/>
                    </a:lnTo>
                    <a:cubicBezTo>
                      <a:pt x="1299" y="1621"/>
                      <a:pt x="924" y="1773"/>
                      <a:pt x="563" y="1952"/>
                    </a:cubicBezTo>
                    <a:lnTo>
                      <a:pt x="0" y="826"/>
                    </a:lnTo>
                    <a:lnTo>
                      <a:pt x="0" y="826"/>
                    </a:lnTo>
                    <a:cubicBezTo>
                      <a:pt x="421" y="616"/>
                      <a:pt x="859" y="438"/>
                      <a:pt x="1311" y="299"/>
                    </a:cubicBezTo>
                    <a:lnTo>
                      <a:pt x="1311" y="299"/>
                    </a:lnTo>
                    <a:cubicBezTo>
                      <a:pt x="1763" y="159"/>
                      <a:pt x="2228" y="59"/>
                      <a:pt x="2699" y="0"/>
                    </a:cubicBezTo>
                    <a:lnTo>
                      <a:pt x="2855" y="125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sp>
            <p:nvSpPr>
              <p:cNvPr id="9" name="Freeform 4">
                <a:extLst>
                  <a:ext uri="{FF2B5EF4-FFF2-40B4-BE49-F238E27FC236}">
                    <a16:creationId xmlns:a16="http://schemas.microsoft.com/office/drawing/2014/main" id="{0DA60120-AD24-5798-ABDF-B24EAAC8B9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9718" y="3809897"/>
                <a:ext cx="3537007" cy="1804371"/>
              </a:xfrm>
              <a:custGeom>
                <a:avLst/>
                <a:gdLst>
                  <a:gd name="T0" fmla="*/ 2545 w 2825"/>
                  <a:gd name="T1" fmla="*/ 1439 h 1440"/>
                  <a:gd name="T2" fmla="*/ 2545 w 2825"/>
                  <a:gd name="T3" fmla="*/ 1439 h 1440"/>
                  <a:gd name="T4" fmla="*/ 157 w 2825"/>
                  <a:gd name="T5" fmla="*/ 1315 h 1440"/>
                  <a:gd name="T6" fmla="*/ 0 w 2825"/>
                  <a:gd name="T7" fmla="*/ 65 h 1440"/>
                  <a:gd name="T8" fmla="*/ 0 w 2825"/>
                  <a:gd name="T9" fmla="*/ 65 h 1440"/>
                  <a:gd name="T10" fmla="*/ 709 w 2825"/>
                  <a:gd name="T11" fmla="*/ 8 h 1440"/>
                  <a:gd name="T12" fmla="*/ 709 w 2825"/>
                  <a:gd name="T13" fmla="*/ 8 h 1440"/>
                  <a:gd name="T14" fmla="*/ 1421 w 2825"/>
                  <a:gd name="T15" fmla="*/ 14 h 1440"/>
                  <a:gd name="T16" fmla="*/ 1421 w 2825"/>
                  <a:gd name="T17" fmla="*/ 14 h 1440"/>
                  <a:gd name="T18" fmla="*/ 2824 w 2825"/>
                  <a:gd name="T19" fmla="*/ 210 h 1440"/>
                  <a:gd name="T20" fmla="*/ 2545 w 2825"/>
                  <a:gd name="T21" fmla="*/ 1439 h 1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25" h="1440">
                    <a:moveTo>
                      <a:pt x="2545" y="1439"/>
                    </a:moveTo>
                    <a:lnTo>
                      <a:pt x="2545" y="1439"/>
                    </a:lnTo>
                    <a:cubicBezTo>
                      <a:pt x="1759" y="1259"/>
                      <a:pt x="950" y="1215"/>
                      <a:pt x="157" y="1315"/>
                    </a:cubicBezTo>
                    <a:lnTo>
                      <a:pt x="0" y="65"/>
                    </a:lnTo>
                    <a:lnTo>
                      <a:pt x="0" y="65"/>
                    </a:lnTo>
                    <a:cubicBezTo>
                      <a:pt x="235" y="34"/>
                      <a:pt x="472" y="16"/>
                      <a:pt x="709" y="8"/>
                    </a:cubicBezTo>
                    <a:lnTo>
                      <a:pt x="709" y="8"/>
                    </a:lnTo>
                    <a:cubicBezTo>
                      <a:pt x="947" y="0"/>
                      <a:pt x="1184" y="0"/>
                      <a:pt x="1421" y="14"/>
                    </a:cubicBezTo>
                    <a:lnTo>
                      <a:pt x="1421" y="14"/>
                    </a:lnTo>
                    <a:cubicBezTo>
                      <a:pt x="1894" y="39"/>
                      <a:pt x="2364" y="106"/>
                      <a:pt x="2824" y="210"/>
                    </a:cubicBezTo>
                    <a:lnTo>
                      <a:pt x="2545" y="1439"/>
                    </a:ln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0B5F7EB0-DEEB-225B-B00C-A7E874E99C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78058" y="4069241"/>
                <a:ext cx="3498379" cy="2571363"/>
              </a:xfrm>
              <a:custGeom>
                <a:avLst/>
                <a:gdLst>
                  <a:gd name="T0" fmla="*/ 2451 w 2794"/>
                  <a:gd name="T1" fmla="*/ 2052 h 2053"/>
                  <a:gd name="T2" fmla="*/ 2451 w 2794"/>
                  <a:gd name="T3" fmla="*/ 2052 h 2053"/>
                  <a:gd name="T4" fmla="*/ 2281 w 2794"/>
                  <a:gd name="T5" fmla="*/ 2001 h 2053"/>
                  <a:gd name="T6" fmla="*/ 2281 w 2794"/>
                  <a:gd name="T7" fmla="*/ 2001 h 2053"/>
                  <a:gd name="T8" fmla="*/ 2113 w 2794"/>
                  <a:gd name="T9" fmla="*/ 1949 h 2053"/>
                  <a:gd name="T10" fmla="*/ 2113 w 2794"/>
                  <a:gd name="T11" fmla="*/ 1949 h 2053"/>
                  <a:gd name="T12" fmla="*/ 1780 w 2794"/>
                  <a:gd name="T13" fmla="*/ 1833 h 2053"/>
                  <a:gd name="T14" fmla="*/ 1617 w 2794"/>
                  <a:gd name="T15" fmla="*/ 1771 h 2053"/>
                  <a:gd name="T16" fmla="*/ 1455 w 2794"/>
                  <a:gd name="T17" fmla="*/ 1706 h 2053"/>
                  <a:gd name="T18" fmla="*/ 1161 w 2794"/>
                  <a:gd name="T19" fmla="*/ 1587 h 2053"/>
                  <a:gd name="T20" fmla="*/ 1161 w 2794"/>
                  <a:gd name="T21" fmla="*/ 1587 h 2053"/>
                  <a:gd name="T22" fmla="*/ 586 w 2794"/>
                  <a:gd name="T23" fmla="*/ 1386 h 2053"/>
                  <a:gd name="T24" fmla="*/ 586 w 2794"/>
                  <a:gd name="T25" fmla="*/ 1386 h 2053"/>
                  <a:gd name="T26" fmla="*/ 294 w 2794"/>
                  <a:gd name="T27" fmla="*/ 1301 h 2053"/>
                  <a:gd name="T28" fmla="*/ 294 w 2794"/>
                  <a:gd name="T29" fmla="*/ 1301 h 2053"/>
                  <a:gd name="T30" fmla="*/ 148 w 2794"/>
                  <a:gd name="T31" fmla="*/ 1264 h 2053"/>
                  <a:gd name="T32" fmla="*/ 148 w 2794"/>
                  <a:gd name="T33" fmla="*/ 1264 h 2053"/>
                  <a:gd name="T34" fmla="*/ 0 w 2794"/>
                  <a:gd name="T35" fmla="*/ 1229 h 2053"/>
                  <a:gd name="T36" fmla="*/ 277 w 2794"/>
                  <a:gd name="T37" fmla="*/ 0 h 2053"/>
                  <a:gd name="T38" fmla="*/ 277 w 2794"/>
                  <a:gd name="T39" fmla="*/ 0 h 2053"/>
                  <a:gd name="T40" fmla="*/ 449 w 2794"/>
                  <a:gd name="T41" fmla="*/ 41 h 2053"/>
                  <a:gd name="T42" fmla="*/ 449 w 2794"/>
                  <a:gd name="T43" fmla="*/ 41 h 2053"/>
                  <a:gd name="T44" fmla="*/ 620 w 2794"/>
                  <a:gd name="T45" fmla="*/ 84 h 2053"/>
                  <a:gd name="T46" fmla="*/ 620 w 2794"/>
                  <a:gd name="T47" fmla="*/ 84 h 2053"/>
                  <a:gd name="T48" fmla="*/ 959 w 2794"/>
                  <a:gd name="T49" fmla="*/ 182 h 2053"/>
                  <a:gd name="T50" fmla="*/ 959 w 2794"/>
                  <a:gd name="T51" fmla="*/ 182 h 2053"/>
                  <a:gd name="T52" fmla="*/ 1619 w 2794"/>
                  <a:gd name="T53" fmla="*/ 414 h 2053"/>
                  <a:gd name="T54" fmla="*/ 1933 w 2794"/>
                  <a:gd name="T55" fmla="*/ 541 h 2053"/>
                  <a:gd name="T56" fmla="*/ 2074 w 2794"/>
                  <a:gd name="T57" fmla="*/ 599 h 2053"/>
                  <a:gd name="T58" fmla="*/ 2217 w 2794"/>
                  <a:gd name="T59" fmla="*/ 652 h 2053"/>
                  <a:gd name="T60" fmla="*/ 2217 w 2794"/>
                  <a:gd name="T61" fmla="*/ 652 h 2053"/>
                  <a:gd name="T62" fmla="*/ 2504 w 2794"/>
                  <a:gd name="T63" fmla="*/ 753 h 2053"/>
                  <a:gd name="T64" fmla="*/ 2504 w 2794"/>
                  <a:gd name="T65" fmla="*/ 753 h 2053"/>
                  <a:gd name="T66" fmla="*/ 2648 w 2794"/>
                  <a:gd name="T67" fmla="*/ 798 h 2053"/>
                  <a:gd name="T68" fmla="*/ 2648 w 2794"/>
                  <a:gd name="T69" fmla="*/ 798 h 2053"/>
                  <a:gd name="T70" fmla="*/ 2793 w 2794"/>
                  <a:gd name="T71" fmla="*/ 840 h 2053"/>
                  <a:gd name="T72" fmla="*/ 2451 w 2794"/>
                  <a:gd name="T73" fmla="*/ 2052 h 20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794" h="2053">
                    <a:moveTo>
                      <a:pt x="2451" y="2052"/>
                    </a:moveTo>
                    <a:lnTo>
                      <a:pt x="2451" y="2052"/>
                    </a:lnTo>
                    <a:cubicBezTo>
                      <a:pt x="2394" y="2037"/>
                      <a:pt x="2337" y="2019"/>
                      <a:pt x="2281" y="2001"/>
                    </a:cubicBezTo>
                    <a:lnTo>
                      <a:pt x="2281" y="2001"/>
                    </a:lnTo>
                    <a:cubicBezTo>
                      <a:pt x="2225" y="1984"/>
                      <a:pt x="2169" y="1968"/>
                      <a:pt x="2113" y="1949"/>
                    </a:cubicBezTo>
                    <a:lnTo>
                      <a:pt x="2113" y="1949"/>
                    </a:lnTo>
                    <a:cubicBezTo>
                      <a:pt x="2002" y="1911"/>
                      <a:pt x="1890" y="1875"/>
                      <a:pt x="1780" y="1833"/>
                    </a:cubicBezTo>
                    <a:lnTo>
                      <a:pt x="1617" y="1771"/>
                    </a:lnTo>
                    <a:lnTo>
                      <a:pt x="1455" y="1706"/>
                    </a:lnTo>
                    <a:lnTo>
                      <a:pt x="1161" y="1587"/>
                    </a:lnTo>
                    <a:lnTo>
                      <a:pt x="1161" y="1587"/>
                    </a:lnTo>
                    <a:cubicBezTo>
                      <a:pt x="971" y="1514"/>
                      <a:pt x="780" y="1444"/>
                      <a:pt x="586" y="1386"/>
                    </a:cubicBezTo>
                    <a:lnTo>
                      <a:pt x="586" y="1386"/>
                    </a:lnTo>
                    <a:cubicBezTo>
                      <a:pt x="489" y="1354"/>
                      <a:pt x="392" y="1329"/>
                      <a:pt x="294" y="1301"/>
                    </a:cubicBezTo>
                    <a:lnTo>
                      <a:pt x="294" y="1301"/>
                    </a:lnTo>
                    <a:cubicBezTo>
                      <a:pt x="245" y="1288"/>
                      <a:pt x="196" y="1276"/>
                      <a:pt x="148" y="1264"/>
                    </a:cubicBezTo>
                    <a:lnTo>
                      <a:pt x="148" y="1264"/>
                    </a:lnTo>
                    <a:cubicBezTo>
                      <a:pt x="99" y="1251"/>
                      <a:pt x="49" y="1239"/>
                      <a:pt x="0" y="1229"/>
                    </a:cubicBezTo>
                    <a:lnTo>
                      <a:pt x="277" y="0"/>
                    </a:lnTo>
                    <a:lnTo>
                      <a:pt x="277" y="0"/>
                    </a:lnTo>
                    <a:cubicBezTo>
                      <a:pt x="335" y="12"/>
                      <a:pt x="392" y="26"/>
                      <a:pt x="449" y="41"/>
                    </a:cubicBezTo>
                    <a:lnTo>
                      <a:pt x="449" y="41"/>
                    </a:lnTo>
                    <a:cubicBezTo>
                      <a:pt x="506" y="55"/>
                      <a:pt x="564" y="68"/>
                      <a:pt x="620" y="84"/>
                    </a:cubicBezTo>
                    <a:lnTo>
                      <a:pt x="620" y="84"/>
                    </a:lnTo>
                    <a:cubicBezTo>
                      <a:pt x="733" y="116"/>
                      <a:pt x="847" y="146"/>
                      <a:pt x="959" y="182"/>
                    </a:cubicBezTo>
                    <a:lnTo>
                      <a:pt x="959" y="182"/>
                    </a:lnTo>
                    <a:cubicBezTo>
                      <a:pt x="1183" y="250"/>
                      <a:pt x="1403" y="330"/>
                      <a:pt x="1619" y="414"/>
                    </a:cubicBezTo>
                    <a:lnTo>
                      <a:pt x="1933" y="541"/>
                    </a:lnTo>
                    <a:lnTo>
                      <a:pt x="2074" y="599"/>
                    </a:lnTo>
                    <a:lnTo>
                      <a:pt x="2217" y="652"/>
                    </a:lnTo>
                    <a:lnTo>
                      <a:pt x="2217" y="652"/>
                    </a:lnTo>
                    <a:cubicBezTo>
                      <a:pt x="2313" y="689"/>
                      <a:pt x="2409" y="719"/>
                      <a:pt x="2504" y="753"/>
                    </a:cubicBezTo>
                    <a:lnTo>
                      <a:pt x="2504" y="753"/>
                    </a:lnTo>
                    <a:cubicBezTo>
                      <a:pt x="2552" y="768"/>
                      <a:pt x="2600" y="783"/>
                      <a:pt x="2648" y="798"/>
                    </a:cubicBezTo>
                    <a:lnTo>
                      <a:pt x="2648" y="798"/>
                    </a:lnTo>
                    <a:cubicBezTo>
                      <a:pt x="2697" y="813"/>
                      <a:pt x="2745" y="828"/>
                      <a:pt x="2793" y="840"/>
                    </a:cubicBezTo>
                    <a:lnTo>
                      <a:pt x="2451" y="2052"/>
                    </a:ln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9AD9DF47-CD86-247C-A168-7C922E422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40520" y="5117650"/>
                <a:ext cx="3559074" cy="1903689"/>
              </a:xfrm>
              <a:custGeom>
                <a:avLst/>
                <a:gdLst>
                  <a:gd name="T0" fmla="*/ 2843 w 2844"/>
                  <a:gd name="T1" fmla="*/ 1458 h 1521"/>
                  <a:gd name="T2" fmla="*/ 2843 w 2844"/>
                  <a:gd name="T3" fmla="*/ 1458 h 1521"/>
                  <a:gd name="T4" fmla="*/ 1400 w 2844"/>
                  <a:gd name="T5" fmla="*/ 1476 h 1521"/>
                  <a:gd name="T6" fmla="*/ 1400 w 2844"/>
                  <a:gd name="T7" fmla="*/ 1476 h 1521"/>
                  <a:gd name="T8" fmla="*/ 691 w 2844"/>
                  <a:gd name="T9" fmla="*/ 1376 h 1521"/>
                  <a:gd name="T10" fmla="*/ 691 w 2844"/>
                  <a:gd name="T11" fmla="*/ 1376 h 1521"/>
                  <a:gd name="T12" fmla="*/ 516 w 2844"/>
                  <a:gd name="T13" fmla="*/ 1340 h 1521"/>
                  <a:gd name="T14" fmla="*/ 429 w 2844"/>
                  <a:gd name="T15" fmla="*/ 1321 h 1521"/>
                  <a:gd name="T16" fmla="*/ 343 w 2844"/>
                  <a:gd name="T17" fmla="*/ 1301 h 1521"/>
                  <a:gd name="T18" fmla="*/ 171 w 2844"/>
                  <a:gd name="T19" fmla="*/ 1258 h 1521"/>
                  <a:gd name="T20" fmla="*/ 0 w 2844"/>
                  <a:gd name="T21" fmla="*/ 1211 h 1521"/>
                  <a:gd name="T22" fmla="*/ 343 w 2844"/>
                  <a:gd name="T23" fmla="*/ 0 h 1521"/>
                  <a:gd name="T24" fmla="*/ 489 w 2844"/>
                  <a:gd name="T25" fmla="*/ 40 h 1521"/>
                  <a:gd name="T26" fmla="*/ 634 w 2844"/>
                  <a:gd name="T27" fmla="*/ 76 h 1521"/>
                  <a:gd name="T28" fmla="*/ 707 w 2844"/>
                  <a:gd name="T29" fmla="*/ 93 h 1521"/>
                  <a:gd name="T30" fmla="*/ 781 w 2844"/>
                  <a:gd name="T31" fmla="*/ 109 h 1521"/>
                  <a:gd name="T32" fmla="*/ 781 w 2844"/>
                  <a:gd name="T33" fmla="*/ 109 h 1521"/>
                  <a:gd name="T34" fmla="*/ 927 w 2844"/>
                  <a:gd name="T35" fmla="*/ 139 h 1521"/>
                  <a:gd name="T36" fmla="*/ 927 w 2844"/>
                  <a:gd name="T37" fmla="*/ 139 h 1521"/>
                  <a:gd name="T38" fmla="*/ 1516 w 2844"/>
                  <a:gd name="T39" fmla="*/ 222 h 1521"/>
                  <a:gd name="T40" fmla="*/ 1516 w 2844"/>
                  <a:gd name="T41" fmla="*/ 222 h 1521"/>
                  <a:gd name="T42" fmla="*/ 2691 w 2844"/>
                  <a:gd name="T43" fmla="*/ 209 h 1521"/>
                  <a:gd name="T44" fmla="*/ 2843 w 2844"/>
                  <a:gd name="T45" fmla="*/ 1458 h 1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844" h="1521">
                    <a:moveTo>
                      <a:pt x="2843" y="1458"/>
                    </a:moveTo>
                    <a:lnTo>
                      <a:pt x="2843" y="1458"/>
                    </a:lnTo>
                    <a:cubicBezTo>
                      <a:pt x="2362" y="1516"/>
                      <a:pt x="1877" y="1520"/>
                      <a:pt x="1400" y="1476"/>
                    </a:cubicBezTo>
                    <a:lnTo>
                      <a:pt x="1400" y="1476"/>
                    </a:lnTo>
                    <a:cubicBezTo>
                      <a:pt x="1162" y="1453"/>
                      <a:pt x="925" y="1420"/>
                      <a:pt x="691" y="1376"/>
                    </a:cubicBezTo>
                    <a:lnTo>
                      <a:pt x="691" y="1376"/>
                    </a:lnTo>
                    <a:cubicBezTo>
                      <a:pt x="633" y="1365"/>
                      <a:pt x="575" y="1352"/>
                      <a:pt x="516" y="1340"/>
                    </a:cubicBezTo>
                    <a:lnTo>
                      <a:pt x="429" y="1321"/>
                    </a:lnTo>
                    <a:lnTo>
                      <a:pt x="343" y="1301"/>
                    </a:lnTo>
                    <a:lnTo>
                      <a:pt x="171" y="1258"/>
                    </a:lnTo>
                    <a:lnTo>
                      <a:pt x="0" y="1211"/>
                    </a:lnTo>
                    <a:lnTo>
                      <a:pt x="343" y="0"/>
                    </a:lnTo>
                    <a:lnTo>
                      <a:pt x="489" y="40"/>
                    </a:lnTo>
                    <a:lnTo>
                      <a:pt x="634" y="76"/>
                    </a:lnTo>
                    <a:lnTo>
                      <a:pt x="707" y="93"/>
                    </a:lnTo>
                    <a:lnTo>
                      <a:pt x="781" y="109"/>
                    </a:lnTo>
                    <a:lnTo>
                      <a:pt x="781" y="109"/>
                    </a:lnTo>
                    <a:cubicBezTo>
                      <a:pt x="830" y="119"/>
                      <a:pt x="878" y="130"/>
                      <a:pt x="927" y="139"/>
                    </a:cubicBezTo>
                    <a:lnTo>
                      <a:pt x="927" y="139"/>
                    </a:lnTo>
                    <a:cubicBezTo>
                      <a:pt x="1123" y="177"/>
                      <a:pt x="1319" y="203"/>
                      <a:pt x="1516" y="222"/>
                    </a:cubicBezTo>
                    <a:lnTo>
                      <a:pt x="1516" y="222"/>
                    </a:lnTo>
                    <a:cubicBezTo>
                      <a:pt x="1909" y="259"/>
                      <a:pt x="2303" y="255"/>
                      <a:pt x="2691" y="209"/>
                    </a:cubicBezTo>
                    <a:lnTo>
                      <a:pt x="2843" y="1458"/>
                    </a:ln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:a16="http://schemas.microsoft.com/office/drawing/2014/main" id="{B0C1A739-0260-F89E-5E9F-A6384F9589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300946" y="4405833"/>
                <a:ext cx="3581150" cy="2543775"/>
              </a:xfrm>
              <a:custGeom>
                <a:avLst/>
                <a:gdLst>
                  <a:gd name="T0" fmla="*/ 2859 w 2860"/>
                  <a:gd name="T1" fmla="*/ 1070 h 2031"/>
                  <a:gd name="T2" fmla="*/ 2859 w 2860"/>
                  <a:gd name="T3" fmla="*/ 1070 h 2031"/>
                  <a:gd name="T4" fmla="*/ 1561 w 2860"/>
                  <a:gd name="T5" fmla="*/ 1696 h 2031"/>
                  <a:gd name="T6" fmla="*/ 1561 w 2860"/>
                  <a:gd name="T7" fmla="*/ 1696 h 2031"/>
                  <a:gd name="T8" fmla="*/ 151 w 2860"/>
                  <a:gd name="T9" fmla="*/ 2030 h 2031"/>
                  <a:gd name="T10" fmla="*/ 0 w 2860"/>
                  <a:gd name="T11" fmla="*/ 780 h 2031"/>
                  <a:gd name="T12" fmla="*/ 0 w 2860"/>
                  <a:gd name="T13" fmla="*/ 780 h 2031"/>
                  <a:gd name="T14" fmla="*/ 1137 w 2860"/>
                  <a:gd name="T15" fmla="*/ 511 h 2031"/>
                  <a:gd name="T16" fmla="*/ 1137 w 2860"/>
                  <a:gd name="T17" fmla="*/ 511 h 2031"/>
                  <a:gd name="T18" fmla="*/ 2196 w 2860"/>
                  <a:gd name="T19" fmla="*/ 0 h 2031"/>
                  <a:gd name="T20" fmla="*/ 2859 w 2860"/>
                  <a:gd name="T21" fmla="*/ 1070 h 20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60" h="2031">
                    <a:moveTo>
                      <a:pt x="2859" y="1070"/>
                    </a:moveTo>
                    <a:lnTo>
                      <a:pt x="2859" y="1070"/>
                    </a:lnTo>
                    <a:cubicBezTo>
                      <a:pt x="2451" y="1323"/>
                      <a:pt x="2016" y="1534"/>
                      <a:pt x="1561" y="1696"/>
                    </a:cubicBezTo>
                    <a:lnTo>
                      <a:pt x="1561" y="1696"/>
                    </a:lnTo>
                    <a:cubicBezTo>
                      <a:pt x="1106" y="1860"/>
                      <a:pt x="631" y="1971"/>
                      <a:pt x="151" y="2030"/>
                    </a:cubicBezTo>
                    <a:lnTo>
                      <a:pt x="0" y="780"/>
                    </a:lnTo>
                    <a:lnTo>
                      <a:pt x="0" y="780"/>
                    </a:lnTo>
                    <a:cubicBezTo>
                      <a:pt x="388" y="732"/>
                      <a:pt x="769" y="642"/>
                      <a:pt x="1137" y="511"/>
                    </a:cubicBezTo>
                    <a:lnTo>
                      <a:pt x="1137" y="511"/>
                    </a:lnTo>
                    <a:cubicBezTo>
                      <a:pt x="1505" y="380"/>
                      <a:pt x="1860" y="207"/>
                      <a:pt x="2196" y="0"/>
                    </a:cubicBezTo>
                    <a:lnTo>
                      <a:pt x="2859" y="1070"/>
                    </a:ln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:a16="http://schemas.microsoft.com/office/drawing/2014/main" id="{24C5087A-8A0E-FE60-A612-94D6D99C16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43367" y="2430409"/>
                <a:ext cx="3465271" cy="3321804"/>
              </a:xfrm>
              <a:custGeom>
                <a:avLst/>
                <a:gdLst>
                  <a:gd name="T0" fmla="*/ 2768 w 2769"/>
                  <a:gd name="T1" fmla="*/ 690 h 2655"/>
                  <a:gd name="T2" fmla="*/ 2735 w 2769"/>
                  <a:gd name="T3" fmla="*/ 739 h 2655"/>
                  <a:gd name="T4" fmla="*/ 2706 w 2769"/>
                  <a:gd name="T5" fmla="*/ 780 h 2655"/>
                  <a:gd name="T6" fmla="*/ 2706 w 2769"/>
                  <a:gd name="T7" fmla="*/ 780 h 2655"/>
                  <a:gd name="T8" fmla="*/ 2649 w 2769"/>
                  <a:gd name="T9" fmla="*/ 856 h 2655"/>
                  <a:gd name="T10" fmla="*/ 2649 w 2769"/>
                  <a:gd name="T11" fmla="*/ 856 h 2655"/>
                  <a:gd name="T12" fmla="*/ 2536 w 2769"/>
                  <a:gd name="T13" fmla="*/ 1002 h 2655"/>
                  <a:gd name="T14" fmla="*/ 2536 w 2769"/>
                  <a:gd name="T15" fmla="*/ 1002 h 2655"/>
                  <a:gd name="T16" fmla="*/ 2302 w 2769"/>
                  <a:gd name="T17" fmla="*/ 1278 h 2655"/>
                  <a:gd name="T18" fmla="*/ 2302 w 2769"/>
                  <a:gd name="T19" fmla="*/ 1278 h 2655"/>
                  <a:gd name="T20" fmla="*/ 1800 w 2769"/>
                  <a:gd name="T21" fmla="*/ 1787 h 2655"/>
                  <a:gd name="T22" fmla="*/ 1800 w 2769"/>
                  <a:gd name="T23" fmla="*/ 1787 h 2655"/>
                  <a:gd name="T24" fmla="*/ 663 w 2769"/>
                  <a:gd name="T25" fmla="*/ 2654 h 2655"/>
                  <a:gd name="T26" fmla="*/ 0 w 2769"/>
                  <a:gd name="T27" fmla="*/ 1582 h 2655"/>
                  <a:gd name="T28" fmla="*/ 0 w 2769"/>
                  <a:gd name="T29" fmla="*/ 1582 h 2655"/>
                  <a:gd name="T30" fmla="*/ 946 w 2769"/>
                  <a:gd name="T31" fmla="*/ 862 h 2655"/>
                  <a:gd name="T32" fmla="*/ 946 w 2769"/>
                  <a:gd name="T33" fmla="*/ 862 h 2655"/>
                  <a:gd name="T34" fmla="*/ 1363 w 2769"/>
                  <a:gd name="T35" fmla="*/ 437 h 2655"/>
                  <a:gd name="T36" fmla="*/ 1363 w 2769"/>
                  <a:gd name="T37" fmla="*/ 437 h 2655"/>
                  <a:gd name="T38" fmla="*/ 1554 w 2769"/>
                  <a:gd name="T39" fmla="*/ 213 h 2655"/>
                  <a:gd name="T40" fmla="*/ 1554 w 2769"/>
                  <a:gd name="T41" fmla="*/ 213 h 2655"/>
                  <a:gd name="T42" fmla="*/ 1642 w 2769"/>
                  <a:gd name="T43" fmla="*/ 100 h 2655"/>
                  <a:gd name="T44" fmla="*/ 1683 w 2769"/>
                  <a:gd name="T45" fmla="*/ 44 h 2655"/>
                  <a:gd name="T46" fmla="*/ 1714 w 2769"/>
                  <a:gd name="T47" fmla="*/ 0 h 2655"/>
                  <a:gd name="T48" fmla="*/ 2768 w 2769"/>
                  <a:gd name="T49" fmla="*/ 690 h 2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69" h="2655">
                    <a:moveTo>
                      <a:pt x="2768" y="690"/>
                    </a:moveTo>
                    <a:lnTo>
                      <a:pt x="2735" y="739"/>
                    </a:lnTo>
                    <a:lnTo>
                      <a:pt x="2706" y="780"/>
                    </a:lnTo>
                    <a:lnTo>
                      <a:pt x="2706" y="780"/>
                    </a:lnTo>
                    <a:cubicBezTo>
                      <a:pt x="2687" y="806"/>
                      <a:pt x="2668" y="831"/>
                      <a:pt x="2649" y="856"/>
                    </a:cubicBezTo>
                    <a:lnTo>
                      <a:pt x="2649" y="856"/>
                    </a:lnTo>
                    <a:cubicBezTo>
                      <a:pt x="2612" y="906"/>
                      <a:pt x="2574" y="954"/>
                      <a:pt x="2536" y="1002"/>
                    </a:cubicBezTo>
                    <a:lnTo>
                      <a:pt x="2536" y="1002"/>
                    </a:lnTo>
                    <a:cubicBezTo>
                      <a:pt x="2461" y="1097"/>
                      <a:pt x="2382" y="1188"/>
                      <a:pt x="2302" y="1278"/>
                    </a:cubicBezTo>
                    <a:lnTo>
                      <a:pt x="2302" y="1278"/>
                    </a:lnTo>
                    <a:cubicBezTo>
                      <a:pt x="2143" y="1456"/>
                      <a:pt x="1975" y="1625"/>
                      <a:pt x="1800" y="1787"/>
                    </a:cubicBezTo>
                    <a:lnTo>
                      <a:pt x="1800" y="1787"/>
                    </a:lnTo>
                    <a:cubicBezTo>
                      <a:pt x="1451" y="2110"/>
                      <a:pt x="1070" y="2401"/>
                      <a:pt x="663" y="2654"/>
                    </a:cubicBezTo>
                    <a:lnTo>
                      <a:pt x="0" y="1582"/>
                    </a:lnTo>
                    <a:lnTo>
                      <a:pt x="0" y="1582"/>
                    </a:lnTo>
                    <a:cubicBezTo>
                      <a:pt x="336" y="1374"/>
                      <a:pt x="653" y="1132"/>
                      <a:pt x="946" y="862"/>
                    </a:cubicBezTo>
                    <a:lnTo>
                      <a:pt x="946" y="862"/>
                    </a:lnTo>
                    <a:cubicBezTo>
                      <a:pt x="1091" y="727"/>
                      <a:pt x="1232" y="585"/>
                      <a:pt x="1363" y="437"/>
                    </a:cubicBezTo>
                    <a:lnTo>
                      <a:pt x="1363" y="437"/>
                    </a:lnTo>
                    <a:cubicBezTo>
                      <a:pt x="1429" y="364"/>
                      <a:pt x="1493" y="288"/>
                      <a:pt x="1554" y="213"/>
                    </a:cubicBezTo>
                    <a:lnTo>
                      <a:pt x="1554" y="213"/>
                    </a:lnTo>
                    <a:cubicBezTo>
                      <a:pt x="1584" y="175"/>
                      <a:pt x="1614" y="138"/>
                      <a:pt x="1642" y="100"/>
                    </a:cubicBezTo>
                    <a:lnTo>
                      <a:pt x="1683" y="44"/>
                    </a:lnTo>
                    <a:lnTo>
                      <a:pt x="1714" y="0"/>
                    </a:lnTo>
                    <a:lnTo>
                      <a:pt x="2768" y="690"/>
                    </a:lnTo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A086DAB2-7320-783E-9537-55C17A27F3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11822" y="1718594"/>
                <a:ext cx="2632059" cy="2179588"/>
              </a:xfrm>
              <a:custGeom>
                <a:avLst/>
                <a:gdLst>
                  <a:gd name="T0" fmla="*/ 0 w 2105"/>
                  <a:gd name="T1" fmla="*/ 364 h 1741"/>
                  <a:gd name="T2" fmla="*/ 2104 w 2105"/>
                  <a:gd name="T3" fmla="*/ 1740 h 1741"/>
                  <a:gd name="T4" fmla="*/ 1740 w 2105"/>
                  <a:gd name="T5" fmla="*/ 0 h 1741"/>
                  <a:gd name="T6" fmla="*/ 0 w 2105"/>
                  <a:gd name="T7" fmla="*/ 364 h 17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5" h="1741">
                    <a:moveTo>
                      <a:pt x="0" y="364"/>
                    </a:moveTo>
                    <a:lnTo>
                      <a:pt x="2104" y="1740"/>
                    </a:lnTo>
                    <a:lnTo>
                      <a:pt x="1740" y="0"/>
                    </a:lnTo>
                    <a:lnTo>
                      <a:pt x="0" y="364"/>
                    </a:lnTo>
                  </a:path>
                </a:pathLst>
              </a:custGeom>
              <a:solidFill>
                <a:schemeClr val="accent6">
                  <a:lumMod val="9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endParaRPr lang="en-US" sz="6532" dirty="0">
                  <a:latin typeface="Open Sans Light" panose="020B0306030504020204" pitchFamily="34" charset="0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6C30183F-EEB6-89AE-08CA-06D42A3AAB13}"/>
                  </a:ext>
                </a:extLst>
              </p:cNvPr>
              <p:cNvGrpSpPr/>
              <p:nvPr/>
            </p:nvGrpSpPr>
            <p:grpSpPr>
              <a:xfrm>
                <a:off x="4452663" y="5001771"/>
                <a:ext cx="314525" cy="1793332"/>
                <a:chOff x="4452663" y="5001771"/>
                <a:chExt cx="314525" cy="1793332"/>
              </a:xfrm>
            </p:grpSpPr>
            <p:sp>
              <p:nvSpPr>
                <p:cNvPr id="31" name="Freeform 12">
                  <a:extLst>
                    <a:ext uri="{FF2B5EF4-FFF2-40B4-BE49-F238E27FC236}">
                      <a16:creationId xmlns:a16="http://schemas.microsoft.com/office/drawing/2014/main" id="{F69A2BEF-BE03-52C2-6DFA-050640B0D8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68540" y="5001771"/>
                  <a:ext cx="82768" cy="1638832"/>
                </a:xfrm>
                <a:custGeom>
                  <a:avLst/>
                  <a:gdLst>
                    <a:gd name="T0" fmla="*/ 67 w 68"/>
                    <a:gd name="T1" fmla="*/ 1309 h 1310"/>
                    <a:gd name="T2" fmla="*/ 0 w 68"/>
                    <a:gd name="T3" fmla="*/ 1309 h 1310"/>
                    <a:gd name="T4" fmla="*/ 0 w 68"/>
                    <a:gd name="T5" fmla="*/ 0 h 1310"/>
                    <a:gd name="T6" fmla="*/ 67 w 68"/>
                    <a:gd name="T7" fmla="*/ 0 h 1310"/>
                    <a:gd name="T8" fmla="*/ 67 w 68"/>
                    <a:gd name="T9" fmla="*/ 1309 h 1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1310">
                      <a:moveTo>
                        <a:pt x="67" y="1309"/>
                      </a:moveTo>
                      <a:lnTo>
                        <a:pt x="0" y="1309"/>
                      </a:lnTo>
                      <a:lnTo>
                        <a:pt x="0" y="0"/>
                      </a:lnTo>
                      <a:lnTo>
                        <a:pt x="67" y="0"/>
                      </a:lnTo>
                      <a:lnTo>
                        <a:pt x="67" y="1309"/>
                      </a:ln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  <p:sp>
              <p:nvSpPr>
                <p:cNvPr id="32" name="Freeform 13">
                  <a:extLst>
                    <a:ext uri="{FF2B5EF4-FFF2-40B4-BE49-F238E27FC236}">
                      <a16:creationId xmlns:a16="http://schemas.microsoft.com/office/drawing/2014/main" id="{135E690F-3E9F-A21F-3CEB-C8849D6ADA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52663" y="6480579"/>
                  <a:ext cx="314525" cy="314524"/>
                </a:xfrm>
                <a:custGeom>
                  <a:avLst/>
                  <a:gdLst>
                    <a:gd name="T0" fmla="*/ 252 w 253"/>
                    <a:gd name="T1" fmla="*/ 126 h 253"/>
                    <a:gd name="T2" fmla="*/ 252 w 253"/>
                    <a:gd name="T3" fmla="*/ 126 h 253"/>
                    <a:gd name="T4" fmla="*/ 126 w 253"/>
                    <a:gd name="T5" fmla="*/ 252 h 253"/>
                    <a:gd name="T6" fmla="*/ 126 w 253"/>
                    <a:gd name="T7" fmla="*/ 252 h 253"/>
                    <a:gd name="T8" fmla="*/ 0 w 253"/>
                    <a:gd name="T9" fmla="*/ 126 h 253"/>
                    <a:gd name="T10" fmla="*/ 0 w 253"/>
                    <a:gd name="T11" fmla="*/ 126 h 253"/>
                    <a:gd name="T12" fmla="*/ 126 w 253"/>
                    <a:gd name="T13" fmla="*/ 0 h 253"/>
                    <a:gd name="T14" fmla="*/ 126 w 253"/>
                    <a:gd name="T15" fmla="*/ 0 h 253"/>
                    <a:gd name="T16" fmla="*/ 252 w 253"/>
                    <a:gd name="T17" fmla="*/ 126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3" h="253">
                      <a:moveTo>
                        <a:pt x="252" y="126"/>
                      </a:moveTo>
                      <a:lnTo>
                        <a:pt x="252" y="126"/>
                      </a:lnTo>
                      <a:cubicBezTo>
                        <a:pt x="252" y="195"/>
                        <a:pt x="196" y="252"/>
                        <a:pt x="126" y="252"/>
                      </a:cubicBezTo>
                      <a:lnTo>
                        <a:pt x="126" y="252"/>
                      </a:lnTo>
                      <a:cubicBezTo>
                        <a:pt x="56" y="252"/>
                        <a:pt x="0" y="195"/>
                        <a:pt x="0" y="126"/>
                      </a:cubicBezTo>
                      <a:lnTo>
                        <a:pt x="0" y="126"/>
                      </a:lnTo>
                      <a:cubicBezTo>
                        <a:pt x="0" y="56"/>
                        <a:pt x="56" y="0"/>
                        <a:pt x="126" y="0"/>
                      </a:cubicBezTo>
                      <a:lnTo>
                        <a:pt x="126" y="0"/>
                      </a:lnTo>
                      <a:cubicBezTo>
                        <a:pt x="196" y="0"/>
                        <a:pt x="252" y="56"/>
                        <a:pt x="252" y="126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5AD8A85E-0256-AC63-0A25-0E5273983D7D}"/>
                  </a:ext>
                </a:extLst>
              </p:cNvPr>
              <p:cNvGrpSpPr/>
              <p:nvPr/>
            </p:nvGrpSpPr>
            <p:grpSpPr>
              <a:xfrm>
                <a:off x="7576926" y="4775539"/>
                <a:ext cx="314525" cy="3939809"/>
                <a:chOff x="7575820" y="4775539"/>
                <a:chExt cx="314525" cy="3939809"/>
              </a:xfrm>
            </p:grpSpPr>
            <p:sp>
              <p:nvSpPr>
                <p:cNvPr id="29" name="Freeform 14">
                  <a:extLst>
                    <a:ext uri="{FF2B5EF4-FFF2-40B4-BE49-F238E27FC236}">
                      <a16:creationId xmlns:a16="http://schemas.microsoft.com/office/drawing/2014/main" id="{5515C781-E305-EE64-26FC-CB633476DA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1698" y="4775539"/>
                  <a:ext cx="88287" cy="3785310"/>
                </a:xfrm>
                <a:custGeom>
                  <a:avLst/>
                  <a:gdLst>
                    <a:gd name="T0" fmla="*/ 68 w 69"/>
                    <a:gd name="T1" fmla="*/ 3024 h 3025"/>
                    <a:gd name="T2" fmla="*/ 0 w 69"/>
                    <a:gd name="T3" fmla="*/ 3024 h 3025"/>
                    <a:gd name="T4" fmla="*/ 0 w 69"/>
                    <a:gd name="T5" fmla="*/ 0 h 3025"/>
                    <a:gd name="T6" fmla="*/ 68 w 69"/>
                    <a:gd name="T7" fmla="*/ 0 h 3025"/>
                    <a:gd name="T8" fmla="*/ 68 w 69"/>
                    <a:gd name="T9" fmla="*/ 3024 h 30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3025">
                      <a:moveTo>
                        <a:pt x="68" y="3024"/>
                      </a:moveTo>
                      <a:lnTo>
                        <a:pt x="0" y="3024"/>
                      </a:lnTo>
                      <a:lnTo>
                        <a:pt x="0" y="0"/>
                      </a:lnTo>
                      <a:lnTo>
                        <a:pt x="68" y="0"/>
                      </a:lnTo>
                      <a:lnTo>
                        <a:pt x="68" y="3024"/>
                      </a:ln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  <p:sp>
              <p:nvSpPr>
                <p:cNvPr id="30" name="Freeform 15">
                  <a:extLst>
                    <a:ext uri="{FF2B5EF4-FFF2-40B4-BE49-F238E27FC236}">
                      <a16:creationId xmlns:a16="http://schemas.microsoft.com/office/drawing/2014/main" id="{411B592E-BABA-C334-9200-E722E4E3AD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75820" y="8400824"/>
                  <a:ext cx="314525" cy="314524"/>
                </a:xfrm>
                <a:custGeom>
                  <a:avLst/>
                  <a:gdLst>
                    <a:gd name="T0" fmla="*/ 252 w 253"/>
                    <a:gd name="T1" fmla="*/ 126 h 253"/>
                    <a:gd name="T2" fmla="*/ 252 w 253"/>
                    <a:gd name="T3" fmla="*/ 126 h 253"/>
                    <a:gd name="T4" fmla="*/ 126 w 253"/>
                    <a:gd name="T5" fmla="*/ 252 h 253"/>
                    <a:gd name="T6" fmla="*/ 126 w 253"/>
                    <a:gd name="T7" fmla="*/ 252 h 253"/>
                    <a:gd name="T8" fmla="*/ 0 w 253"/>
                    <a:gd name="T9" fmla="*/ 126 h 253"/>
                    <a:gd name="T10" fmla="*/ 0 w 253"/>
                    <a:gd name="T11" fmla="*/ 126 h 253"/>
                    <a:gd name="T12" fmla="*/ 126 w 253"/>
                    <a:gd name="T13" fmla="*/ 0 h 253"/>
                    <a:gd name="T14" fmla="*/ 126 w 253"/>
                    <a:gd name="T15" fmla="*/ 0 h 253"/>
                    <a:gd name="T16" fmla="*/ 252 w 253"/>
                    <a:gd name="T17" fmla="*/ 126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3" h="253">
                      <a:moveTo>
                        <a:pt x="252" y="126"/>
                      </a:moveTo>
                      <a:lnTo>
                        <a:pt x="252" y="126"/>
                      </a:lnTo>
                      <a:cubicBezTo>
                        <a:pt x="252" y="196"/>
                        <a:pt x="196" y="252"/>
                        <a:pt x="126" y="252"/>
                      </a:cubicBezTo>
                      <a:lnTo>
                        <a:pt x="126" y="252"/>
                      </a:lnTo>
                      <a:cubicBezTo>
                        <a:pt x="56" y="252"/>
                        <a:pt x="0" y="196"/>
                        <a:pt x="0" y="126"/>
                      </a:cubicBezTo>
                      <a:lnTo>
                        <a:pt x="0" y="126"/>
                      </a:lnTo>
                      <a:cubicBezTo>
                        <a:pt x="0" y="57"/>
                        <a:pt x="56" y="0"/>
                        <a:pt x="126" y="0"/>
                      </a:cubicBezTo>
                      <a:lnTo>
                        <a:pt x="126" y="0"/>
                      </a:lnTo>
                      <a:cubicBezTo>
                        <a:pt x="196" y="0"/>
                        <a:pt x="252" y="57"/>
                        <a:pt x="252" y="126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E8D84B3C-39B8-F6D7-2926-B311CAFB6390}"/>
                  </a:ext>
                </a:extLst>
              </p:cNvPr>
              <p:cNvGrpSpPr/>
              <p:nvPr/>
            </p:nvGrpSpPr>
            <p:grpSpPr>
              <a:xfrm>
                <a:off x="10701189" y="5520458"/>
                <a:ext cx="314521" cy="2074750"/>
                <a:chOff x="10704500" y="5520458"/>
                <a:chExt cx="314521" cy="2074750"/>
              </a:xfrm>
            </p:grpSpPr>
            <p:sp>
              <p:nvSpPr>
                <p:cNvPr id="27" name="Freeform 16">
                  <a:extLst>
                    <a:ext uri="{FF2B5EF4-FFF2-40B4-BE49-F238E27FC236}">
                      <a16:creationId xmlns:a16="http://schemas.microsoft.com/office/drawing/2014/main" id="{4234BF75-98FA-CC8D-DA64-ED4FE2568B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20376" y="5520458"/>
                  <a:ext cx="82770" cy="1920245"/>
                </a:xfrm>
                <a:custGeom>
                  <a:avLst/>
                  <a:gdLst>
                    <a:gd name="T0" fmla="*/ 67 w 68"/>
                    <a:gd name="T1" fmla="*/ 1535 h 1536"/>
                    <a:gd name="T2" fmla="*/ 0 w 68"/>
                    <a:gd name="T3" fmla="*/ 1535 h 1536"/>
                    <a:gd name="T4" fmla="*/ 0 w 68"/>
                    <a:gd name="T5" fmla="*/ 0 h 1536"/>
                    <a:gd name="T6" fmla="*/ 67 w 68"/>
                    <a:gd name="T7" fmla="*/ 0 h 1536"/>
                    <a:gd name="T8" fmla="*/ 67 w 68"/>
                    <a:gd name="T9" fmla="*/ 1535 h 1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1536">
                      <a:moveTo>
                        <a:pt x="67" y="1535"/>
                      </a:moveTo>
                      <a:lnTo>
                        <a:pt x="0" y="1535"/>
                      </a:lnTo>
                      <a:lnTo>
                        <a:pt x="0" y="0"/>
                      </a:lnTo>
                      <a:lnTo>
                        <a:pt x="67" y="0"/>
                      </a:lnTo>
                      <a:lnTo>
                        <a:pt x="67" y="1535"/>
                      </a:lnTo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  <p:sp>
              <p:nvSpPr>
                <p:cNvPr id="28" name="Freeform 17">
                  <a:extLst>
                    <a:ext uri="{FF2B5EF4-FFF2-40B4-BE49-F238E27FC236}">
                      <a16:creationId xmlns:a16="http://schemas.microsoft.com/office/drawing/2014/main" id="{21E87CA1-643A-C73E-5ACD-C888CE9B08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04500" y="7280687"/>
                  <a:ext cx="314521" cy="314521"/>
                </a:xfrm>
                <a:custGeom>
                  <a:avLst/>
                  <a:gdLst>
                    <a:gd name="T0" fmla="*/ 251 w 252"/>
                    <a:gd name="T1" fmla="*/ 126 h 253"/>
                    <a:gd name="T2" fmla="*/ 251 w 252"/>
                    <a:gd name="T3" fmla="*/ 126 h 253"/>
                    <a:gd name="T4" fmla="*/ 125 w 252"/>
                    <a:gd name="T5" fmla="*/ 252 h 253"/>
                    <a:gd name="T6" fmla="*/ 125 w 252"/>
                    <a:gd name="T7" fmla="*/ 252 h 253"/>
                    <a:gd name="T8" fmla="*/ 0 w 252"/>
                    <a:gd name="T9" fmla="*/ 126 h 253"/>
                    <a:gd name="T10" fmla="*/ 0 w 252"/>
                    <a:gd name="T11" fmla="*/ 126 h 253"/>
                    <a:gd name="T12" fmla="*/ 125 w 252"/>
                    <a:gd name="T13" fmla="*/ 0 h 253"/>
                    <a:gd name="T14" fmla="*/ 125 w 252"/>
                    <a:gd name="T15" fmla="*/ 0 h 253"/>
                    <a:gd name="T16" fmla="*/ 251 w 252"/>
                    <a:gd name="T17" fmla="*/ 126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2" h="253">
                      <a:moveTo>
                        <a:pt x="251" y="126"/>
                      </a:moveTo>
                      <a:lnTo>
                        <a:pt x="251" y="126"/>
                      </a:lnTo>
                      <a:cubicBezTo>
                        <a:pt x="251" y="196"/>
                        <a:pt x="194" y="252"/>
                        <a:pt x="125" y="252"/>
                      </a:cubicBezTo>
                      <a:lnTo>
                        <a:pt x="125" y="252"/>
                      </a:lnTo>
                      <a:cubicBezTo>
                        <a:pt x="56" y="252"/>
                        <a:pt x="0" y="196"/>
                        <a:pt x="0" y="126"/>
                      </a:cubicBezTo>
                      <a:lnTo>
                        <a:pt x="0" y="126"/>
                      </a:lnTo>
                      <a:cubicBezTo>
                        <a:pt x="0" y="57"/>
                        <a:pt x="56" y="0"/>
                        <a:pt x="125" y="0"/>
                      </a:cubicBezTo>
                      <a:lnTo>
                        <a:pt x="125" y="0"/>
                      </a:lnTo>
                      <a:cubicBezTo>
                        <a:pt x="194" y="0"/>
                        <a:pt x="251" y="57"/>
                        <a:pt x="251" y="126"/>
                      </a:cubicBezTo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27ABDE6F-2DDF-8359-1EB8-1C167D3C40C3}"/>
                  </a:ext>
                </a:extLst>
              </p:cNvPr>
              <p:cNvGrpSpPr/>
              <p:nvPr/>
            </p:nvGrpSpPr>
            <p:grpSpPr>
              <a:xfrm>
                <a:off x="13825448" y="6132952"/>
                <a:ext cx="320042" cy="3950848"/>
                <a:chOff x="13827658" y="6132952"/>
                <a:chExt cx="320042" cy="3950848"/>
              </a:xfrm>
            </p:grpSpPr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B57CAEF7-5248-F6F7-F3D1-EDCF3D12D5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43534" y="6132952"/>
                  <a:ext cx="82770" cy="3790828"/>
                </a:xfrm>
                <a:custGeom>
                  <a:avLst/>
                  <a:gdLst>
                    <a:gd name="T0" fmla="*/ 67 w 68"/>
                    <a:gd name="T1" fmla="*/ 3029 h 3030"/>
                    <a:gd name="T2" fmla="*/ 0 w 68"/>
                    <a:gd name="T3" fmla="*/ 3029 h 3030"/>
                    <a:gd name="T4" fmla="*/ 0 w 68"/>
                    <a:gd name="T5" fmla="*/ 0 h 3030"/>
                    <a:gd name="T6" fmla="*/ 67 w 68"/>
                    <a:gd name="T7" fmla="*/ 0 h 3030"/>
                    <a:gd name="T8" fmla="*/ 67 w 68"/>
                    <a:gd name="T9" fmla="*/ 3029 h 30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3030">
                      <a:moveTo>
                        <a:pt x="67" y="3029"/>
                      </a:moveTo>
                      <a:lnTo>
                        <a:pt x="0" y="3029"/>
                      </a:lnTo>
                      <a:lnTo>
                        <a:pt x="0" y="0"/>
                      </a:lnTo>
                      <a:lnTo>
                        <a:pt x="67" y="0"/>
                      </a:lnTo>
                      <a:lnTo>
                        <a:pt x="67" y="3029"/>
                      </a:ln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  <p:sp>
              <p:nvSpPr>
                <p:cNvPr id="26" name="Freeform 19">
                  <a:extLst>
                    <a:ext uri="{FF2B5EF4-FFF2-40B4-BE49-F238E27FC236}">
                      <a16:creationId xmlns:a16="http://schemas.microsoft.com/office/drawing/2014/main" id="{09C6DD43-E4F8-39E8-A49D-D0DB572CC3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827658" y="9769276"/>
                  <a:ext cx="320042" cy="314524"/>
                </a:xfrm>
                <a:custGeom>
                  <a:avLst/>
                  <a:gdLst>
                    <a:gd name="T0" fmla="*/ 253 w 254"/>
                    <a:gd name="T1" fmla="*/ 127 h 253"/>
                    <a:gd name="T2" fmla="*/ 253 w 254"/>
                    <a:gd name="T3" fmla="*/ 127 h 253"/>
                    <a:gd name="T4" fmla="*/ 126 w 254"/>
                    <a:gd name="T5" fmla="*/ 252 h 253"/>
                    <a:gd name="T6" fmla="*/ 126 w 254"/>
                    <a:gd name="T7" fmla="*/ 252 h 253"/>
                    <a:gd name="T8" fmla="*/ 0 w 254"/>
                    <a:gd name="T9" fmla="*/ 127 h 253"/>
                    <a:gd name="T10" fmla="*/ 0 w 254"/>
                    <a:gd name="T11" fmla="*/ 127 h 253"/>
                    <a:gd name="T12" fmla="*/ 126 w 254"/>
                    <a:gd name="T13" fmla="*/ 0 h 253"/>
                    <a:gd name="T14" fmla="*/ 126 w 254"/>
                    <a:gd name="T15" fmla="*/ 0 h 253"/>
                    <a:gd name="T16" fmla="*/ 253 w 254"/>
                    <a:gd name="T17" fmla="*/ 127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4" h="253">
                      <a:moveTo>
                        <a:pt x="253" y="127"/>
                      </a:moveTo>
                      <a:lnTo>
                        <a:pt x="253" y="127"/>
                      </a:lnTo>
                      <a:cubicBezTo>
                        <a:pt x="253" y="196"/>
                        <a:pt x="196" y="252"/>
                        <a:pt x="126" y="252"/>
                      </a:cubicBezTo>
                      <a:lnTo>
                        <a:pt x="126" y="252"/>
                      </a:lnTo>
                      <a:cubicBezTo>
                        <a:pt x="57" y="252"/>
                        <a:pt x="0" y="196"/>
                        <a:pt x="0" y="127"/>
                      </a:cubicBezTo>
                      <a:lnTo>
                        <a:pt x="0" y="127"/>
                      </a:lnTo>
                      <a:cubicBezTo>
                        <a:pt x="0" y="57"/>
                        <a:pt x="57" y="0"/>
                        <a:pt x="126" y="0"/>
                      </a:cubicBezTo>
                      <a:lnTo>
                        <a:pt x="126" y="0"/>
                      </a:lnTo>
                      <a:cubicBezTo>
                        <a:pt x="196" y="0"/>
                        <a:pt x="253" y="57"/>
                        <a:pt x="253" y="127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F3C22196-C137-5A80-8B47-D41AE04D0EB5}"/>
                  </a:ext>
                </a:extLst>
              </p:cNvPr>
              <p:cNvGrpSpPr/>
              <p:nvPr/>
            </p:nvGrpSpPr>
            <p:grpSpPr>
              <a:xfrm>
                <a:off x="16955228" y="5603228"/>
                <a:ext cx="314521" cy="2080267"/>
                <a:chOff x="16950817" y="5603228"/>
                <a:chExt cx="314521" cy="2080267"/>
              </a:xfrm>
            </p:grpSpPr>
            <p:sp>
              <p:nvSpPr>
                <p:cNvPr id="23" name="Freeform 20">
                  <a:extLst>
                    <a:ext uri="{FF2B5EF4-FFF2-40B4-BE49-F238E27FC236}">
                      <a16:creationId xmlns:a16="http://schemas.microsoft.com/office/drawing/2014/main" id="{0925409F-2DC1-E87E-ED6B-7A50F506E8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66692" y="5603228"/>
                  <a:ext cx="82770" cy="1920245"/>
                </a:xfrm>
                <a:custGeom>
                  <a:avLst/>
                  <a:gdLst>
                    <a:gd name="T0" fmla="*/ 67 w 68"/>
                    <a:gd name="T1" fmla="*/ 1535 h 1536"/>
                    <a:gd name="T2" fmla="*/ 0 w 68"/>
                    <a:gd name="T3" fmla="*/ 1535 h 1536"/>
                    <a:gd name="T4" fmla="*/ 0 w 68"/>
                    <a:gd name="T5" fmla="*/ 0 h 1536"/>
                    <a:gd name="T6" fmla="*/ 67 w 68"/>
                    <a:gd name="T7" fmla="*/ 0 h 1536"/>
                    <a:gd name="T8" fmla="*/ 67 w 68"/>
                    <a:gd name="T9" fmla="*/ 1535 h 1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1536">
                      <a:moveTo>
                        <a:pt x="67" y="1535"/>
                      </a:moveTo>
                      <a:lnTo>
                        <a:pt x="0" y="1535"/>
                      </a:lnTo>
                      <a:lnTo>
                        <a:pt x="0" y="0"/>
                      </a:lnTo>
                      <a:lnTo>
                        <a:pt x="67" y="0"/>
                      </a:lnTo>
                      <a:lnTo>
                        <a:pt x="67" y="1535"/>
                      </a:lnTo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  <p:sp>
              <p:nvSpPr>
                <p:cNvPr id="24" name="Freeform 21">
                  <a:extLst>
                    <a:ext uri="{FF2B5EF4-FFF2-40B4-BE49-F238E27FC236}">
                      <a16:creationId xmlns:a16="http://schemas.microsoft.com/office/drawing/2014/main" id="{7B7D33E2-6D87-0D45-683D-37C1B9DA08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950817" y="7368974"/>
                  <a:ext cx="314521" cy="314521"/>
                </a:xfrm>
                <a:custGeom>
                  <a:avLst/>
                  <a:gdLst>
                    <a:gd name="T0" fmla="*/ 252 w 253"/>
                    <a:gd name="T1" fmla="*/ 126 h 253"/>
                    <a:gd name="T2" fmla="*/ 252 w 253"/>
                    <a:gd name="T3" fmla="*/ 126 h 253"/>
                    <a:gd name="T4" fmla="*/ 126 w 253"/>
                    <a:gd name="T5" fmla="*/ 252 h 253"/>
                    <a:gd name="T6" fmla="*/ 126 w 253"/>
                    <a:gd name="T7" fmla="*/ 252 h 253"/>
                    <a:gd name="T8" fmla="*/ 0 w 253"/>
                    <a:gd name="T9" fmla="*/ 126 h 253"/>
                    <a:gd name="T10" fmla="*/ 0 w 253"/>
                    <a:gd name="T11" fmla="*/ 126 h 253"/>
                    <a:gd name="T12" fmla="*/ 126 w 253"/>
                    <a:gd name="T13" fmla="*/ 0 h 253"/>
                    <a:gd name="T14" fmla="*/ 126 w 253"/>
                    <a:gd name="T15" fmla="*/ 0 h 253"/>
                    <a:gd name="T16" fmla="*/ 252 w 253"/>
                    <a:gd name="T17" fmla="*/ 126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3" h="253">
                      <a:moveTo>
                        <a:pt x="252" y="126"/>
                      </a:moveTo>
                      <a:lnTo>
                        <a:pt x="252" y="126"/>
                      </a:lnTo>
                      <a:cubicBezTo>
                        <a:pt x="252" y="196"/>
                        <a:pt x="196" y="252"/>
                        <a:pt x="126" y="252"/>
                      </a:cubicBezTo>
                      <a:lnTo>
                        <a:pt x="126" y="252"/>
                      </a:lnTo>
                      <a:cubicBezTo>
                        <a:pt x="56" y="252"/>
                        <a:pt x="0" y="196"/>
                        <a:pt x="0" y="126"/>
                      </a:cubicBezTo>
                      <a:lnTo>
                        <a:pt x="0" y="126"/>
                      </a:lnTo>
                      <a:cubicBezTo>
                        <a:pt x="0" y="57"/>
                        <a:pt x="56" y="0"/>
                        <a:pt x="126" y="0"/>
                      </a:cubicBezTo>
                      <a:lnTo>
                        <a:pt x="126" y="0"/>
                      </a:lnTo>
                      <a:cubicBezTo>
                        <a:pt x="196" y="0"/>
                        <a:pt x="252" y="57"/>
                        <a:pt x="252" y="126"/>
                      </a:cubicBezTo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F2240DD6-29FB-41B9-E8C3-94F16980EDA2}"/>
                  </a:ext>
                </a:extLst>
              </p:cNvPr>
              <p:cNvGrpSpPr/>
              <p:nvPr/>
            </p:nvGrpSpPr>
            <p:grpSpPr>
              <a:xfrm>
                <a:off x="20079489" y="3787823"/>
                <a:ext cx="314525" cy="5109619"/>
                <a:chOff x="20079489" y="3787823"/>
                <a:chExt cx="314525" cy="5109619"/>
              </a:xfrm>
            </p:grpSpPr>
            <p:sp>
              <p:nvSpPr>
                <p:cNvPr id="21" name="Freeform 22">
                  <a:extLst>
                    <a:ext uri="{FF2B5EF4-FFF2-40B4-BE49-F238E27FC236}">
                      <a16:creationId xmlns:a16="http://schemas.microsoft.com/office/drawing/2014/main" id="{78D74686-09CB-2BDC-0B9D-31EFAF4075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195367" y="3787823"/>
                  <a:ext cx="82768" cy="4949599"/>
                </a:xfrm>
                <a:custGeom>
                  <a:avLst/>
                  <a:gdLst>
                    <a:gd name="T0" fmla="*/ 67 w 68"/>
                    <a:gd name="T1" fmla="*/ 3955 h 3956"/>
                    <a:gd name="T2" fmla="*/ 0 w 68"/>
                    <a:gd name="T3" fmla="*/ 3955 h 3956"/>
                    <a:gd name="T4" fmla="*/ 0 w 68"/>
                    <a:gd name="T5" fmla="*/ 0 h 3956"/>
                    <a:gd name="T6" fmla="*/ 67 w 68"/>
                    <a:gd name="T7" fmla="*/ 0 h 3956"/>
                    <a:gd name="T8" fmla="*/ 67 w 68"/>
                    <a:gd name="T9" fmla="*/ 3955 h 39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3956">
                      <a:moveTo>
                        <a:pt x="67" y="3955"/>
                      </a:moveTo>
                      <a:lnTo>
                        <a:pt x="0" y="3955"/>
                      </a:lnTo>
                      <a:lnTo>
                        <a:pt x="0" y="0"/>
                      </a:lnTo>
                      <a:lnTo>
                        <a:pt x="67" y="0"/>
                      </a:lnTo>
                      <a:lnTo>
                        <a:pt x="67" y="3955"/>
                      </a:ln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  <p:sp>
              <p:nvSpPr>
                <p:cNvPr id="22" name="Freeform 23">
                  <a:extLst>
                    <a:ext uri="{FF2B5EF4-FFF2-40B4-BE49-F238E27FC236}">
                      <a16:creationId xmlns:a16="http://schemas.microsoft.com/office/drawing/2014/main" id="{4E56F6D7-B600-7E2E-B192-02C0AB137D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079489" y="8582921"/>
                  <a:ext cx="314525" cy="314521"/>
                </a:xfrm>
                <a:custGeom>
                  <a:avLst/>
                  <a:gdLst>
                    <a:gd name="T0" fmla="*/ 252 w 253"/>
                    <a:gd name="T1" fmla="*/ 126 h 253"/>
                    <a:gd name="T2" fmla="*/ 252 w 253"/>
                    <a:gd name="T3" fmla="*/ 126 h 253"/>
                    <a:gd name="T4" fmla="*/ 126 w 253"/>
                    <a:gd name="T5" fmla="*/ 252 h 253"/>
                    <a:gd name="T6" fmla="*/ 126 w 253"/>
                    <a:gd name="T7" fmla="*/ 252 h 253"/>
                    <a:gd name="T8" fmla="*/ 0 w 253"/>
                    <a:gd name="T9" fmla="*/ 126 h 253"/>
                    <a:gd name="T10" fmla="*/ 0 w 253"/>
                    <a:gd name="T11" fmla="*/ 126 h 253"/>
                    <a:gd name="T12" fmla="*/ 126 w 253"/>
                    <a:gd name="T13" fmla="*/ 0 h 253"/>
                    <a:gd name="T14" fmla="*/ 126 w 253"/>
                    <a:gd name="T15" fmla="*/ 0 h 253"/>
                    <a:gd name="T16" fmla="*/ 252 w 253"/>
                    <a:gd name="T17" fmla="*/ 126 h 2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53" h="253">
                      <a:moveTo>
                        <a:pt x="252" y="126"/>
                      </a:moveTo>
                      <a:lnTo>
                        <a:pt x="252" y="126"/>
                      </a:lnTo>
                      <a:cubicBezTo>
                        <a:pt x="252" y="196"/>
                        <a:pt x="195" y="252"/>
                        <a:pt x="126" y="252"/>
                      </a:cubicBezTo>
                      <a:lnTo>
                        <a:pt x="126" y="252"/>
                      </a:lnTo>
                      <a:cubicBezTo>
                        <a:pt x="56" y="252"/>
                        <a:pt x="0" y="196"/>
                        <a:pt x="0" y="126"/>
                      </a:cubicBezTo>
                      <a:lnTo>
                        <a:pt x="0" y="126"/>
                      </a:lnTo>
                      <a:cubicBezTo>
                        <a:pt x="0" y="56"/>
                        <a:pt x="56" y="0"/>
                        <a:pt x="126" y="0"/>
                      </a:cubicBezTo>
                      <a:lnTo>
                        <a:pt x="126" y="0"/>
                      </a:lnTo>
                      <a:cubicBezTo>
                        <a:pt x="195" y="0"/>
                        <a:pt x="252" y="56"/>
                        <a:pt x="252" y="126"/>
                      </a:cubicBez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6532" dirty="0">
                    <a:latin typeface="Open Sans Light" panose="020B0306030504020204" pitchFamily="34" charset="0"/>
                  </a:endParaRPr>
                </a:p>
              </p:txBody>
            </p:sp>
          </p:grpSp>
        </p:grpSp>
        <p:sp>
          <p:nvSpPr>
            <p:cNvPr id="34" name="Subtitle 2">
              <a:extLst>
                <a:ext uri="{FF2B5EF4-FFF2-40B4-BE49-F238E27FC236}">
                  <a16:creationId xmlns:a16="http://schemas.microsoft.com/office/drawing/2014/main" id="{2502D75E-4413-04EB-CAF8-C74D3CD3192E}"/>
                </a:ext>
              </a:extLst>
            </p:cNvPr>
            <p:cNvSpPr txBox="1">
              <a:spLocks/>
            </p:cNvSpPr>
            <p:nvPr/>
          </p:nvSpPr>
          <p:spPr>
            <a:xfrm>
              <a:off x="446152" y="3822927"/>
              <a:ext cx="1840756" cy="8309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indent="0" algn="ctr" defTabSz="1087636">
                <a:lnSpc>
                  <a:spcPct val="100000"/>
                </a:lnSpc>
                <a:spcBef>
                  <a:spcPct val="20000"/>
                </a:spcBef>
                <a:buFont typeface="Arial"/>
                <a:buNone/>
                <a:defRPr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n-U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REPORTA</a:t>
              </a:r>
              <a:r>
                <a:rPr lang="en-US" sz="1200" dirty="0"/>
                <a:t> </a:t>
              </a:r>
              <a:r>
                <a:rPr lang="es-ES" sz="1200" dirty="0"/>
                <a:t>el incidente en forma </a:t>
              </a:r>
              <a:r>
                <a:rPr lang="es-E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Inmediata</a:t>
              </a:r>
              <a:r>
                <a:rPr lang="es-ES" sz="1200" dirty="0"/>
                <a:t> a su </a:t>
              </a:r>
              <a:r>
                <a:rPr lang="es-E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Supervisor Operativo y/o SSO</a:t>
              </a:r>
              <a:r>
                <a:rPr lang="es-ES" sz="1200" dirty="0"/>
                <a:t>.</a:t>
              </a:r>
              <a:endParaRPr lang="en-US" sz="1200" dirty="0"/>
            </a:p>
          </p:txBody>
        </p:sp>
        <p:sp>
          <p:nvSpPr>
            <p:cNvPr id="40" name="Subtitle 2">
              <a:extLst>
                <a:ext uri="{FF2B5EF4-FFF2-40B4-BE49-F238E27FC236}">
                  <a16:creationId xmlns:a16="http://schemas.microsoft.com/office/drawing/2014/main" id="{71BBBA18-494D-6256-1F54-C03CA468DCEF}"/>
                </a:ext>
              </a:extLst>
            </p:cNvPr>
            <p:cNvSpPr txBox="1">
              <a:spLocks/>
            </p:cNvSpPr>
            <p:nvPr/>
          </p:nvSpPr>
          <p:spPr>
            <a:xfrm>
              <a:off x="2420746" y="4704798"/>
              <a:ext cx="1708927" cy="1015663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indent="0" algn="ctr" defTabSz="1087636">
                <a:lnSpc>
                  <a:spcPct val="100000"/>
                </a:lnSpc>
                <a:spcBef>
                  <a:spcPct val="20000"/>
                </a:spcBef>
                <a:buFont typeface="Arial"/>
                <a:buNone/>
                <a:defRPr sz="12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s-E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COMUNICAN</a:t>
              </a:r>
              <a:r>
                <a:rPr lang="es-ES" dirty="0"/>
                <a:t> de forma inmediata al Sup. Operativo de SMCV, Sup SSO y </a:t>
              </a:r>
              <a:r>
                <a:rPr lang="es-ES" dirty="0" err="1"/>
                <a:t>Admin</a:t>
              </a:r>
              <a:r>
                <a:rPr lang="es-ES" dirty="0"/>
                <a:t> de Contrato</a:t>
              </a:r>
              <a:endParaRPr lang="en-US" dirty="0"/>
            </a:p>
          </p:txBody>
        </p:sp>
        <p:sp>
          <p:nvSpPr>
            <p:cNvPr id="44" name="Subtitle 2">
              <a:extLst>
                <a:ext uri="{FF2B5EF4-FFF2-40B4-BE49-F238E27FC236}">
                  <a16:creationId xmlns:a16="http://schemas.microsoft.com/office/drawing/2014/main" id="{9F1A59CC-3ED1-2B2C-9854-BB44373C4FB1}"/>
                </a:ext>
              </a:extLst>
            </p:cNvPr>
            <p:cNvSpPr txBox="1">
              <a:spLocks/>
            </p:cNvSpPr>
            <p:nvPr/>
          </p:nvSpPr>
          <p:spPr>
            <a:xfrm>
              <a:off x="4169361" y="4094559"/>
              <a:ext cx="2033717" cy="646331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indent="0" algn="ctr" defTabSz="1087636">
                <a:lnSpc>
                  <a:spcPct val="100000"/>
                </a:lnSpc>
                <a:spcBef>
                  <a:spcPct val="20000"/>
                </a:spcBef>
                <a:buFont typeface="Arial"/>
                <a:buNone/>
                <a:defRPr sz="11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s-ES" sz="1200" b="1" dirty="0">
                  <a:solidFill>
                    <a:schemeClr val="tx2"/>
                  </a:solidFill>
                </a:rPr>
                <a:t>ASEGURAN</a:t>
              </a:r>
              <a:r>
                <a:rPr lang="es-ES" sz="1200" dirty="0"/>
                <a:t> de forma inmediata el área donde sucedió el evento</a:t>
              </a:r>
              <a:endParaRPr lang="es-ES" sz="1200" b="1" dirty="0">
                <a:solidFill>
                  <a:schemeClr val="tx2"/>
                </a:solidFill>
                <a:latin typeface="Poppins SemiBold" pitchFamily="2" charset="77"/>
                <a:cs typeface="Poppins SemiBold" pitchFamily="2" charset="77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27BB7DE-2334-90BE-8136-BC9237B8E533}"/>
                </a:ext>
              </a:extLst>
            </p:cNvPr>
            <p:cNvSpPr txBox="1"/>
            <p:nvPr/>
          </p:nvSpPr>
          <p:spPr>
            <a:xfrm rot="20789846">
              <a:off x="518254" y="2578777"/>
              <a:ext cx="1301177" cy="523220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400" b="1" dirty="0" err="1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Trabajador</a:t>
              </a:r>
              <a:r>
                <a:rPr lang="en-US" sz="14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 EECC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6306099-8AF2-BE8C-B8EA-0AEAA9CA72E2}"/>
                </a:ext>
              </a:extLst>
            </p:cNvPr>
            <p:cNvSpPr txBox="1"/>
            <p:nvPr/>
          </p:nvSpPr>
          <p:spPr>
            <a:xfrm>
              <a:off x="2477635" y="2345934"/>
              <a:ext cx="1301177" cy="646331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Supervisor </a:t>
              </a:r>
              <a:r>
                <a:rPr lang="en-US" sz="1200" b="1" dirty="0" err="1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Operativo</a:t>
              </a:r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/</a:t>
              </a:r>
            </a:p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SSO  de </a:t>
              </a:r>
              <a:r>
                <a:rPr lang="es-PE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EECC </a:t>
              </a:r>
              <a:endParaRPr lang="en-US" sz="1200" b="1" dirty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B75A62A0-0798-474C-8C86-37A69CF7DC25}"/>
                </a:ext>
              </a:extLst>
            </p:cNvPr>
            <p:cNvSpPr txBox="1"/>
            <p:nvPr/>
          </p:nvSpPr>
          <p:spPr>
            <a:xfrm rot="904574">
              <a:off x="4370596" y="2697837"/>
              <a:ext cx="1301177" cy="523220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SMCV / EECC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D7040A8-52FC-7ACC-94B4-E281A6CC333E}"/>
                </a:ext>
              </a:extLst>
            </p:cNvPr>
            <p:cNvSpPr txBox="1"/>
            <p:nvPr/>
          </p:nvSpPr>
          <p:spPr>
            <a:xfrm rot="212230">
              <a:off x="6355685" y="2907540"/>
              <a:ext cx="1301177" cy="95410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Supervisor SSO y </a:t>
              </a:r>
              <a:r>
                <a:rPr lang="en-US" sz="1400" b="1" dirty="0" err="1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Operativo</a:t>
              </a:r>
              <a:r>
                <a:rPr lang="en-US" sz="14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 de EECC</a:t>
              </a:r>
            </a:p>
          </p:txBody>
        </p:sp>
        <p:sp>
          <p:nvSpPr>
            <p:cNvPr id="55" name="Subtitle 2">
              <a:extLst>
                <a:ext uri="{FF2B5EF4-FFF2-40B4-BE49-F238E27FC236}">
                  <a16:creationId xmlns:a16="http://schemas.microsoft.com/office/drawing/2014/main" id="{1019E983-20A5-AD99-AC14-8A2A5108E089}"/>
                </a:ext>
              </a:extLst>
            </p:cNvPr>
            <p:cNvSpPr txBox="1">
              <a:spLocks/>
            </p:cNvSpPr>
            <p:nvPr/>
          </p:nvSpPr>
          <p:spPr>
            <a:xfrm>
              <a:off x="6035850" y="5369307"/>
              <a:ext cx="2033717" cy="8309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indent="0" algn="ctr" defTabSz="1087636">
                <a:lnSpc>
                  <a:spcPct val="100000"/>
                </a:lnSpc>
                <a:spcBef>
                  <a:spcPct val="20000"/>
                </a:spcBef>
                <a:buFont typeface="Arial"/>
                <a:buNone/>
                <a:defRPr sz="11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s-E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RECOPILAN </a:t>
              </a:r>
              <a:r>
                <a:rPr lang="es-ES" sz="1200" dirty="0"/>
                <a:t>información del evento y </a:t>
              </a:r>
              <a:r>
                <a:rPr lang="es-E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COMPLETAN </a:t>
              </a:r>
              <a:r>
                <a:rPr lang="es-ES" sz="1200" dirty="0"/>
                <a:t>el formato de Notificación Preliminar.</a:t>
              </a:r>
              <a:endParaRPr lang="en-US" sz="1200" b="1" dirty="0">
                <a:solidFill>
                  <a:schemeClr val="tx2"/>
                </a:solidFill>
                <a:latin typeface="Poppins SemiBold" pitchFamily="2" charset="77"/>
                <a:cs typeface="Poppins SemiBold" pitchFamily="2" charset="77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043372B-3B67-2CB3-F123-7BEC6C6E798D}"/>
                </a:ext>
              </a:extLst>
            </p:cNvPr>
            <p:cNvSpPr txBox="1"/>
            <p:nvPr/>
          </p:nvSpPr>
          <p:spPr>
            <a:xfrm rot="20805402">
              <a:off x="8211831" y="3029199"/>
              <a:ext cx="1301177" cy="307777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EECC</a:t>
              </a:r>
            </a:p>
          </p:txBody>
        </p:sp>
        <p:sp>
          <p:nvSpPr>
            <p:cNvPr id="57" name="Subtitle 2">
              <a:extLst>
                <a:ext uri="{FF2B5EF4-FFF2-40B4-BE49-F238E27FC236}">
                  <a16:creationId xmlns:a16="http://schemas.microsoft.com/office/drawing/2014/main" id="{E3F33414-B2CD-302F-6C48-584AE47BFF4E}"/>
                </a:ext>
              </a:extLst>
            </p:cNvPr>
            <p:cNvSpPr txBox="1">
              <a:spLocks/>
            </p:cNvSpPr>
            <p:nvPr/>
          </p:nvSpPr>
          <p:spPr>
            <a:xfrm>
              <a:off x="8004823" y="4263583"/>
              <a:ext cx="2033717" cy="646331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indent="0" algn="ctr" defTabSz="1087636">
                <a:lnSpc>
                  <a:spcPct val="100000"/>
                </a:lnSpc>
                <a:spcBef>
                  <a:spcPct val="20000"/>
                </a:spcBef>
                <a:buFont typeface="Arial"/>
                <a:buNone/>
                <a:defRPr sz="11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s-ES" sz="1200" dirty="0"/>
                <a:t>En equipo </a:t>
              </a:r>
              <a:r>
                <a:rPr lang="es-E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REALIZA</a:t>
              </a:r>
              <a:r>
                <a:rPr lang="es-ES" sz="1200" dirty="0"/>
                <a:t> análisis causa raíz y propone planes de acción.</a:t>
              </a:r>
              <a:endParaRPr lang="en-US" sz="1200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0720B68-3D72-E271-AF65-6D164DD071C8}"/>
                </a:ext>
              </a:extLst>
            </p:cNvPr>
            <p:cNvSpPr txBox="1"/>
            <p:nvPr/>
          </p:nvSpPr>
          <p:spPr>
            <a:xfrm rot="19521062">
              <a:off x="9771841" y="1958625"/>
              <a:ext cx="1545896" cy="646331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Admin de </a:t>
              </a:r>
              <a:r>
                <a:rPr lang="en-US" sz="1200" b="1" dirty="0" err="1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Contrato</a:t>
              </a:r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 y </a:t>
              </a:r>
              <a:r>
                <a:rPr lang="en-US" sz="1200" b="1" dirty="0" err="1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Área</a:t>
              </a:r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usuaria</a:t>
              </a:r>
              <a:r>
                <a:rPr lang="en-US" sz="1200" b="1" dirty="0">
                  <a:solidFill>
                    <a:schemeClr val="bg1"/>
                  </a:solidFill>
                  <a:latin typeface="Poppins SemiBold" pitchFamily="2" charset="77"/>
                  <a:ea typeface="League Spartan" charset="0"/>
                  <a:cs typeface="Poppins SemiBold" pitchFamily="2" charset="77"/>
                </a:rPr>
                <a:t> /  SSO</a:t>
              </a:r>
            </a:p>
          </p:txBody>
        </p:sp>
        <p:sp>
          <p:nvSpPr>
            <p:cNvPr id="59" name="Subtitle 2">
              <a:extLst>
                <a:ext uri="{FF2B5EF4-FFF2-40B4-BE49-F238E27FC236}">
                  <a16:creationId xmlns:a16="http://schemas.microsoft.com/office/drawing/2014/main" id="{F8EA8828-FCDB-669F-3299-030E554C4034}"/>
                </a:ext>
              </a:extLst>
            </p:cNvPr>
            <p:cNvSpPr txBox="1">
              <a:spLocks/>
            </p:cNvSpPr>
            <p:nvPr/>
          </p:nvSpPr>
          <p:spPr>
            <a:xfrm>
              <a:off x="10060977" y="4773930"/>
              <a:ext cx="1774735" cy="1015663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indent="0" algn="ctr" defTabSz="1087636">
                <a:lnSpc>
                  <a:spcPct val="100000"/>
                </a:lnSpc>
                <a:spcBef>
                  <a:spcPct val="20000"/>
                </a:spcBef>
                <a:buFont typeface="Arial"/>
                <a:buNone/>
                <a:defRPr sz="11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108763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2pPr>
              <a:lvl3pPr marL="2175271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3pPr>
              <a:lvl4pPr marL="3262912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4pPr>
              <a:lvl5pPr marL="4350546" indent="0" algn="ctr" defTabSz="1087636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>
                  <a:solidFill>
                    <a:schemeClr val="tx1">
                      <a:tint val="75000"/>
                    </a:schemeClr>
                  </a:solidFill>
                  <a:latin typeface="Open Sans"/>
                  <a:cs typeface="Open Sans"/>
                </a:defRPr>
              </a:lvl5pPr>
              <a:lvl6pPr marL="5438184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6pPr>
              <a:lvl7pPr marL="6525820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7pPr>
              <a:lvl8pPr marL="7613455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8pPr>
              <a:lvl9pPr marL="8701091" indent="0" algn="ctr" defTabSz="1087636">
                <a:spcBef>
                  <a:spcPct val="20000"/>
                </a:spcBef>
                <a:buFont typeface="Arial"/>
                <a:buNone/>
                <a:defRPr sz="4800">
                  <a:solidFill>
                    <a:schemeClr val="tx1">
                      <a:tint val="75000"/>
                    </a:schemeClr>
                  </a:solidFill>
                </a:defRPr>
              </a:lvl9pPr>
            </a:lstStyle>
            <a:p>
              <a:r>
                <a:rPr lang="es-ES" sz="1200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REALIZA EL SEGUIMIENTO Y CIERRE </a:t>
              </a:r>
              <a:r>
                <a:rPr lang="es-ES" sz="1200" dirty="0"/>
                <a:t>del informe de investigación y planes de acción.</a:t>
              </a:r>
              <a:endParaRPr lang="en-US" sz="1200" b="1" dirty="0">
                <a:solidFill>
                  <a:schemeClr val="tx2"/>
                </a:solidFill>
                <a:latin typeface="Poppins SemiBold" pitchFamily="2" charset="77"/>
                <a:cs typeface="Poppins SemiBold" pitchFamily="2" charset="77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CF7F9B1-AE89-BB59-A4B6-B987D59D5B52}"/>
                </a:ext>
              </a:extLst>
            </p:cNvPr>
            <p:cNvSpPr txBox="1"/>
            <p:nvPr/>
          </p:nvSpPr>
          <p:spPr>
            <a:xfrm>
              <a:off x="766219" y="2100605"/>
              <a:ext cx="44147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01</a:t>
              </a:r>
              <a:endParaRPr lang="en-US" dirty="0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0014715-996C-8C74-CFE7-1A6D398B13DE}"/>
                </a:ext>
              </a:extLst>
            </p:cNvPr>
            <p:cNvSpPr txBox="1"/>
            <p:nvPr/>
          </p:nvSpPr>
          <p:spPr>
            <a:xfrm>
              <a:off x="2899155" y="1886533"/>
              <a:ext cx="5220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02</a:t>
              </a:r>
              <a:endParaRPr lang="en-US" dirty="0"/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2DCBE87-C22C-572D-2ED1-DD84D31048F7}"/>
                </a:ext>
              </a:extLst>
            </p:cNvPr>
            <p:cNvSpPr txBox="1"/>
            <p:nvPr/>
          </p:nvSpPr>
          <p:spPr>
            <a:xfrm rot="1269317">
              <a:off x="4989099" y="2248266"/>
              <a:ext cx="5220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03</a:t>
              </a:r>
              <a:endParaRPr lang="en-US" dirty="0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EE3A111-E2B0-BF99-3272-41BD2BB6848B}"/>
                </a:ext>
              </a:extLst>
            </p:cNvPr>
            <p:cNvSpPr txBox="1"/>
            <p:nvPr/>
          </p:nvSpPr>
          <p:spPr>
            <a:xfrm rot="21436186">
              <a:off x="6738068" y="2658999"/>
              <a:ext cx="5220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04</a:t>
              </a:r>
              <a:endParaRPr lang="en-US" dirty="0"/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2D1D9CB0-591B-D175-247B-7AA806134954}"/>
                </a:ext>
              </a:extLst>
            </p:cNvPr>
            <p:cNvSpPr txBox="1"/>
            <p:nvPr/>
          </p:nvSpPr>
          <p:spPr>
            <a:xfrm rot="20419467">
              <a:off x="8422191" y="2490020"/>
              <a:ext cx="5220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05</a:t>
              </a:r>
              <a:endParaRPr lang="en-US" dirty="0"/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BC90BE3-8160-15CB-314A-1BEC1650BEEF}"/>
                </a:ext>
              </a:extLst>
            </p:cNvPr>
            <p:cNvSpPr txBox="1"/>
            <p:nvPr/>
          </p:nvSpPr>
          <p:spPr>
            <a:xfrm rot="20419467">
              <a:off x="9881091" y="1742271"/>
              <a:ext cx="5220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2"/>
                  </a:solidFill>
                  <a:latin typeface="Poppins SemiBold" pitchFamily="2" charset="77"/>
                  <a:cs typeface="Poppins SemiBold" pitchFamily="2" charset="77"/>
                </a:rPr>
                <a:t>06</a:t>
              </a:r>
              <a:endParaRPr lang="en-US" dirty="0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CF3FF77-CCAB-70CD-270D-0D9EF137C0B0}"/>
              </a:ext>
            </a:extLst>
          </p:cNvPr>
          <p:cNvSpPr txBox="1"/>
          <p:nvPr/>
        </p:nvSpPr>
        <p:spPr>
          <a:xfrm>
            <a:off x="3476035" y="1270724"/>
            <a:ext cx="56859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600" b="1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edimiento: SSOpr0004 Reporte y Análisis de Inciden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4901C4-C4E5-0622-A100-C9E34BB99F1C}"/>
              </a:ext>
            </a:extLst>
          </p:cNvPr>
          <p:cNvSpPr txBox="1"/>
          <p:nvPr/>
        </p:nvSpPr>
        <p:spPr>
          <a:xfrm>
            <a:off x="27437" y="6329822"/>
            <a:ext cx="7241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dirty="0">
                <a:solidFill>
                  <a:schemeClr val="tx2"/>
                </a:solidFill>
                <a:hlinkClick r:id="rId3"/>
              </a:rPr>
              <a:t>Revisar Procedimiento de Investigación de Incidentes  en </a:t>
            </a:r>
            <a:r>
              <a:rPr lang="es-PE" dirty="0" err="1">
                <a:solidFill>
                  <a:schemeClr val="tx2"/>
                </a:solidFill>
                <a:hlinkClick r:id="rId3"/>
              </a:rPr>
              <a:t>Public</a:t>
            </a:r>
            <a:r>
              <a:rPr lang="es-PE" dirty="0">
                <a:solidFill>
                  <a:schemeClr val="tx2"/>
                </a:solidFill>
                <a:hlinkClick r:id="rId3"/>
              </a:rPr>
              <a:t> Site</a:t>
            </a:r>
            <a:endParaRPr lang="es-P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1023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63E11-F3CC-18C3-E0AA-94D89D53A965}"/>
              </a:ext>
            </a:extLst>
          </p:cNvPr>
          <p:cNvSpPr txBox="1">
            <a:spLocks noChangeArrowheads="1"/>
          </p:cNvSpPr>
          <p:nvPr/>
        </p:nvSpPr>
        <p:spPr>
          <a:xfrm>
            <a:off x="461139" y="2479675"/>
            <a:ext cx="5922963" cy="7985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PE" altLang="en-US" sz="2800" dirty="0">
                <a:solidFill>
                  <a:schemeClr val="bg1"/>
                </a:solidFill>
              </a:rPr>
              <a:t>REPORTE DE EMERGENCIAS</a:t>
            </a:r>
            <a:endParaRPr lang="en-US" altLang="en-US" sz="2800" dirty="0">
              <a:solidFill>
                <a:schemeClr val="bg1"/>
              </a:solidFill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0263C98-E602-FF2F-73CD-3834C4FA28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1139" y="4314825"/>
            <a:ext cx="55006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BB5D00"/>
              </a:buClr>
              <a:buSzPct val="11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SzPct val="8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F572A"/>
              </a:buClr>
              <a:buFont typeface="Arial" panose="020B0604020202020204" pitchFamily="34" charset="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endParaRPr lang="en-US" altLang="en-US" sz="1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63252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E92387E-268B-9A1F-489C-1C5F9CFE8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41" y="325229"/>
            <a:ext cx="8779076" cy="60755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¿</a:t>
            </a:r>
            <a:r>
              <a:rPr lang="en-US" dirty="0" err="1"/>
              <a:t>Cómo</a:t>
            </a:r>
            <a:r>
              <a:rPr lang="en-US" dirty="0"/>
              <a:t> </a:t>
            </a:r>
            <a:r>
              <a:rPr lang="en-US" dirty="0" err="1"/>
              <a:t>reportar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Emergencia</a:t>
            </a:r>
            <a:r>
              <a:rPr lang="en-US" dirty="0"/>
              <a:t>?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49B20A6-D3D9-BE34-D069-9E4F59E4E673}"/>
              </a:ext>
            </a:extLst>
          </p:cNvPr>
          <p:cNvSpPr/>
          <p:nvPr/>
        </p:nvSpPr>
        <p:spPr>
          <a:xfrm>
            <a:off x="4359487" y="1300656"/>
            <a:ext cx="3987798" cy="374571"/>
          </a:xfrm>
          <a:prstGeom prst="roundRect">
            <a:avLst/>
          </a:prstGeom>
          <a:solidFill>
            <a:srgbClr val="C68B69"/>
          </a:solidFill>
          <a:ln>
            <a:solidFill>
              <a:srgbClr val="C68B6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dirty="0">
                <a:solidFill>
                  <a:schemeClr val="bg1"/>
                </a:solidFill>
                <a:latin typeface="Poppins SemiBold" panose="00000700000000000000" pitchFamily="2" charset="0"/>
                <a:ea typeface="Open Sans" panose="020F0502020204030204" pitchFamily="34" charset="0"/>
                <a:cs typeface="Poppins SemiBold" panose="00000700000000000000" pitchFamily="2" charset="0"/>
              </a:rPr>
              <a:t>Vía Radial (Sistema Troncalizado)</a:t>
            </a:r>
            <a:endParaRPr lang="en-US" sz="1600" dirty="0">
              <a:solidFill>
                <a:schemeClr val="bg1"/>
              </a:solidFill>
              <a:latin typeface="Poppins SemiBold" panose="00000700000000000000" pitchFamily="2" charset="0"/>
              <a:ea typeface="Open Sans" panose="020F0502020204030204" pitchFamily="34" charset="0"/>
              <a:cs typeface="Poppins SemiBold" panose="00000700000000000000" pitchFamily="2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09650AF-A1D0-3613-5C45-6DF2940733C1}"/>
              </a:ext>
            </a:extLst>
          </p:cNvPr>
          <p:cNvSpPr/>
          <p:nvPr/>
        </p:nvSpPr>
        <p:spPr>
          <a:xfrm>
            <a:off x="8751341" y="3417727"/>
            <a:ext cx="2796820" cy="374571"/>
          </a:xfrm>
          <a:prstGeom prst="roundRect">
            <a:avLst/>
          </a:prstGeom>
          <a:solidFill>
            <a:srgbClr val="C68B69"/>
          </a:solidFill>
          <a:ln>
            <a:solidFill>
              <a:srgbClr val="C68B6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PE" sz="1600" dirty="0">
                <a:solidFill>
                  <a:schemeClr val="bg1"/>
                </a:solidFill>
                <a:latin typeface="Poppins SemiBold" panose="00000700000000000000" pitchFamily="2" charset="0"/>
                <a:ea typeface="Open Sans" panose="020F0502020204030204" pitchFamily="34" charset="0"/>
                <a:cs typeface="Poppins SemiBold" panose="00000700000000000000" pitchFamily="2" charset="0"/>
              </a:rPr>
              <a:t>Vía Telefónica</a:t>
            </a:r>
            <a:endParaRPr lang="en-US" sz="1600" dirty="0">
              <a:solidFill>
                <a:schemeClr val="bg1"/>
              </a:solidFill>
              <a:latin typeface="Poppins SemiBold" panose="00000700000000000000" pitchFamily="2" charset="0"/>
              <a:ea typeface="Open Sans" panose="020F0502020204030204" pitchFamily="34" charset="0"/>
              <a:cs typeface="Poppins SemiBold" panose="000007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49122D0-9A58-0FE3-D0F6-5DC3CADF86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0797" y="1786616"/>
            <a:ext cx="3645179" cy="3262222"/>
          </a:xfrm>
          <a:prstGeom prst="rect">
            <a:avLst/>
          </a:prstGeom>
          <a:ln w="38100" cap="sq">
            <a:solidFill>
              <a:srgbClr val="C68B69"/>
            </a:solidFill>
            <a:prstDash val="solid"/>
            <a:miter lim="800000"/>
          </a:ln>
          <a:effectLst/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89FBE6F9-4330-6238-C264-98EDF51292C3}"/>
              </a:ext>
            </a:extLst>
          </p:cNvPr>
          <p:cNvGrpSpPr/>
          <p:nvPr/>
        </p:nvGrpSpPr>
        <p:grpSpPr>
          <a:xfrm>
            <a:off x="8286347" y="3897638"/>
            <a:ext cx="3737765" cy="2778970"/>
            <a:chOff x="6414597" y="1866643"/>
            <a:chExt cx="4335465" cy="4417284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BFB66F7-0654-2328-290E-830A0753C7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-293" b="77271"/>
            <a:stretch/>
          </p:blipFill>
          <p:spPr>
            <a:xfrm>
              <a:off x="6414598" y="1866643"/>
              <a:ext cx="4335464" cy="1625734"/>
            </a:xfrm>
            <a:prstGeom prst="rect">
              <a:avLst/>
            </a:prstGeom>
            <a:ln w="38100" cap="sq">
              <a:solidFill>
                <a:srgbClr val="C68B69"/>
              </a:solidFill>
              <a:prstDash val="solid"/>
              <a:miter lim="800000"/>
            </a:ln>
            <a:effectLst/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7F7BD75E-0B9E-EAFF-2D39-C024D1F57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60698"/>
            <a:stretch/>
          </p:blipFill>
          <p:spPr>
            <a:xfrm>
              <a:off x="6414597" y="3465125"/>
              <a:ext cx="4334400" cy="2818802"/>
            </a:xfrm>
            <a:prstGeom prst="rect">
              <a:avLst/>
            </a:prstGeom>
            <a:ln w="38100" cap="sq">
              <a:solidFill>
                <a:srgbClr val="C68B69"/>
              </a:solidFill>
              <a:prstDash val="solid"/>
              <a:miter lim="800000"/>
            </a:ln>
            <a:effectLst/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B30946C-1218-B248-CFD7-90971E957342}"/>
                </a:ext>
              </a:extLst>
            </p:cNvPr>
            <p:cNvSpPr/>
            <p:nvPr/>
          </p:nvSpPr>
          <p:spPr>
            <a:xfrm>
              <a:off x="6414598" y="3424881"/>
              <a:ext cx="4322755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82787A76-2303-D841-5269-B4B65CACB3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225" y="1499937"/>
            <a:ext cx="4163076" cy="5071384"/>
          </a:xfrm>
          <a:prstGeom prst="rect">
            <a:avLst/>
          </a:prstGeom>
          <a:ln>
            <a:solidFill>
              <a:srgbClr val="7A604D"/>
            </a:solidFill>
          </a:ln>
        </p:spPr>
      </p:pic>
    </p:spTree>
    <p:extLst>
      <p:ext uri="{BB962C8B-B14F-4D97-AF65-F5344CB8AC3E}">
        <p14:creationId xmlns:p14="http://schemas.microsoft.com/office/powerpoint/2010/main" val="4078864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8D6E59"/>
      </a:dk2>
      <a:lt2>
        <a:srgbClr val="FDF1DF"/>
      </a:lt2>
      <a:accent1>
        <a:srgbClr val="D34727"/>
      </a:accent1>
      <a:accent2>
        <a:srgbClr val="E18332"/>
      </a:accent2>
      <a:accent3>
        <a:srgbClr val="FFC000"/>
      </a:accent3>
      <a:accent4>
        <a:srgbClr val="8F133C"/>
      </a:accent4>
      <a:accent5>
        <a:srgbClr val="88BA00"/>
      </a:accent5>
      <a:accent6>
        <a:srgbClr val="0088BA"/>
      </a:accent6>
      <a:hlink>
        <a:srgbClr val="27B3D3"/>
      </a:hlink>
      <a:folHlink>
        <a:srgbClr val="8D6E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4 Freeport Template Widescreen" id="{9FA926C0-C983-4FCE-99FD-90A8C9C6688B}" vid="{D7F7D09C-D8B7-46D8-9E5A-3577897363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M_x0020_Ent_x0020_TaxonomyTaxHTField0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</TermName>
          <TermId xmlns="http://schemas.microsoft.com/office/infopath/2007/PartnerControls">78012a07-bc17-42a8-9dfa-203d907fea28</TermId>
        </TermInfo>
      </Terms>
    </FM_x0020_Ent_x0020_TaxonomyTaxHTField0>
    <o79fb0eb13274969baa8945b2a62dcda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dministration</TermName>
          <TermId xmlns="http://schemas.microsoft.com/office/infopath/2007/PartnerControls">5648ecb6-843d-42d8-8ec5-901cd2d614fb</TermId>
        </TermInfo>
      </Terms>
    </o79fb0eb13274969baa8945b2a62dcda>
    <TaxCatchAll xmlns="b5ba0a33-b247-4d4b-b9ae-c709af684fd3">
      <Value>4</Value>
      <Value>1</Value>
      <Value>7</Value>
    </TaxCatchAll>
    <FM_x0020_Doc_x0020_TypeTaxHTField0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ab0814dc-ad79-4add-a59b-e4976d8b9098</TermId>
        </TermInfo>
      </Terms>
    </FM_x0020_Doc_x0020_TypeTaxHTField0>
    <FM_x0020_LOC xmlns="b5ba0a33-b247-4d4b-b9ae-c709af684fd3" xsi:nil="true"/>
    <FM_x0020_DPT xmlns="b5ba0a33-b247-4d4b-b9ae-c709af684fd3">Administration</FM_x0020_DPT>
    <Site xmlns="1c8c09b6-704d-411a-b466-b4564be81472">Cerro Verde</Sit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FM Document" ma:contentTypeID="0x01010046829DE55437B147B48D1766376E3D6B00B88FBAAEE5C20C4C9D69FB6CE39CD566" ma:contentTypeVersion="6" ma:contentTypeDescription="Document Content Type" ma:contentTypeScope="" ma:versionID="01c71c80e6a001ff50fc994bda8c680d">
  <xsd:schema xmlns:xsd="http://www.w3.org/2001/XMLSchema" xmlns:xs="http://www.w3.org/2001/XMLSchema" xmlns:p="http://schemas.microsoft.com/office/2006/metadata/properties" xmlns:ns2="b5ba0a33-b247-4d4b-b9ae-c709af684fd3" xmlns:ns3="1c8c09b6-704d-411a-b466-b4564be81472" targetNamespace="http://schemas.microsoft.com/office/2006/metadata/properties" ma:root="true" ma:fieldsID="43e7873ea5f4d3fdff3544c45e4f44e1" ns2:_="" ns3:_="">
    <xsd:import namespace="b5ba0a33-b247-4d4b-b9ae-c709af684fd3"/>
    <xsd:import namespace="1c8c09b6-704d-411a-b466-b4564be81472"/>
    <xsd:element name="properties">
      <xsd:complexType>
        <xsd:sequence>
          <xsd:element name="documentManagement">
            <xsd:complexType>
              <xsd:all>
                <xsd:element ref="ns2:o79fb0eb13274969baa8945b2a62dcda" minOccurs="0"/>
                <xsd:element ref="ns2:TaxCatchAll" minOccurs="0"/>
                <xsd:element ref="ns2:TaxCatchAllLabel" minOccurs="0"/>
                <xsd:element ref="ns2:FM_x0020_Ent_x0020_TaxonomyTaxHTField0" minOccurs="0"/>
                <xsd:element ref="ns2:FM_x0020_Doc_x0020_TypeTaxHTField0" minOccurs="0"/>
                <xsd:element ref="ns2:FM_x0020_DPT" minOccurs="0"/>
                <xsd:element ref="ns2:FM_x0020_LOC" minOccurs="0"/>
                <xsd:element ref="ns3:Si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a0a33-b247-4d4b-b9ae-c709af684fd3" elementFormDefault="qualified">
    <xsd:import namespace="http://schemas.microsoft.com/office/2006/documentManagement/types"/>
    <xsd:import namespace="http://schemas.microsoft.com/office/infopath/2007/PartnerControls"/>
    <xsd:element name="o79fb0eb13274969baa8945b2a62dcda" ma:index="8" ma:taxonomy="true" ma:internalName="o79fb0eb13274969baa8945b2a62dcda" ma:taxonomyFieldName="FM_x0020_Retention_x0020_Category" ma:displayName="FM Retention Category" ma:readOnly="false" ma:default="" ma:fieldId="{879fb0eb-1327-4969-baa8-945b2a62dcda}" ma:sspId="b7e16863-b940-4291-96f8-ad8461baff96" ma:termSetId="3287f003-fa19-4de9-9d01-e5aef60515f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27ec2217-e374-4c6f-b3e4-ba39a28ba7e3}" ma:internalName="TaxCatchAll" ma:showField="CatchAllData" ma:web="8a0634ce-b61f-46f1-9480-72c1833a6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27ec2217-e374-4c6f-b3e4-ba39a28ba7e3}" ma:internalName="TaxCatchAllLabel" ma:readOnly="true" ma:showField="CatchAllDataLabel" ma:web="8a0634ce-b61f-46f1-9480-72c1833a6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M_x0020_Ent_x0020_TaxonomyTaxHTField0" ma:index="12" nillable="true" ma:taxonomy="true" ma:internalName="FM_x0020_Ent_x0020_TaxonomyTaxHTField0" ma:taxonomyFieldName="FM_x0020_Ent_x0020_Taxonomy" ma:displayName="FM Business Process" ma:readOnly="false" ma:default="" ma:fieldId="{b40ec4b2-9645-411d-a03c-9e8ab0f1f2d4}" ma:sspId="b7e16863-b940-4291-96f8-ad8461baff96" ma:termSetId="3d1ce9c8-a01a-4b28-93f4-bc23cae590f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M_x0020_Doc_x0020_TypeTaxHTField0" ma:index="14" nillable="true" ma:taxonomy="true" ma:internalName="FM_x0020_Doc_x0020_TypeTaxHTField0" ma:taxonomyFieldName="FM_x0020_Doc_x0020_Type" ma:displayName="FM Doc Type" ma:readOnly="false" ma:default="" ma:fieldId="{bfb78ee2-975a-4f84-839c-ed91d42d4105}" ma:sspId="b7e16863-b940-4291-96f8-ad8461baff96" ma:termSetId="af82bb66-37d5-47da-967c-ea1eda9481c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M_x0020_DPT" ma:index="16" nillable="true" ma:displayName="FM DPT" ma:description="This column is used to assign FMI Department" ma:format="Dropdown" ma:hidden="true" ma:internalName="FM_x0020_DPT" ma:readOnly="false">
      <xsd:simpleType>
        <xsd:restriction base="dms:Choice">
          <xsd:enumeration value="Accounts Payable"/>
          <xsd:enumeration value="Administration"/>
          <xsd:enumeration value="Climax Moly Company"/>
          <xsd:enumeration value="Communications"/>
          <xsd:enumeration value="Community / Administrative Services"/>
          <xsd:enumeration value="Community Relations/Social Resp"/>
          <xsd:enumeration value="Corporate Communications"/>
          <xsd:enumeration value="Custom Applications"/>
          <xsd:enumeration value="Environmental / Sustainable Development"/>
          <xsd:enumeration value="Exploration"/>
          <xsd:enumeration value="Exploration / Geology"/>
          <xsd:enumeration value="External Communications"/>
          <xsd:enumeration value="Finance"/>
          <xsd:enumeration value="Finance / Accounting / Tax"/>
          <xsd:enumeration value="Financial Shared Services"/>
          <xsd:enumeration value="FM Africa"/>
          <xsd:enumeration value="FM Americas"/>
          <xsd:enumeration value="FM Mining Company"/>
          <xsd:enumeration value="Global Supply Chain"/>
          <xsd:enumeration value="GSC/ Purchasing/ Warehousing"/>
          <xsd:enumeration value="Health &amp; Safety"/>
          <xsd:enumeration value="Human Resources"/>
          <xsd:enumeration value="Legal / Govt Relations"/>
          <xsd:enumeration value="MIS"/>
          <xsd:enumeration value="Operational Improvement"/>
          <xsd:enumeration value="Operations"/>
          <xsd:enumeration value="Operations Smelting"/>
          <xsd:enumeration value="Ops Maintenance"/>
          <xsd:enumeration value="Sales &amp; Marketing"/>
          <xsd:enumeration value="Security"/>
          <xsd:enumeration value="Senior Management (Corp)"/>
          <xsd:enumeration value="Strategic Planning"/>
        </xsd:restriction>
      </xsd:simpleType>
    </xsd:element>
    <xsd:element name="FM_x0020_LOC" ma:index="17" nillable="true" ma:displayName="FM LOC" ma:description="This column is used to assign Location" ma:format="Dropdown" ma:hidden="true" ma:internalName="FM_x0020_LOC" ma:readOnly="false">
      <xsd:simpleType>
        <xsd:restriction base="dms:Choice">
          <xsd:enumeration value="Administrative &amp; Sales"/>
          <xsd:enumeration value="Africa"/>
          <xsd:enumeration value="Ajo"/>
          <xsd:enumeration value="Arequipa"/>
          <xsd:enumeration value="Asia Pacific"/>
          <xsd:enumeration value="Atlantic Copper (Huelva)"/>
          <xsd:enumeration value="Aurex"/>
          <xsd:enumeration value="Australia/Asia"/>
          <xsd:enumeration value="Bagdad"/>
          <xsd:enumeration value="Bayway"/>
          <xsd:enumeration value="Bisbee"/>
          <xsd:enumeration value="Cairns"/>
          <xsd:enumeration value="Candelaria"/>
          <xsd:enumeration value="Central Analytical Service Center"/>
          <xsd:enumeration value="Cerro Verde"/>
          <xsd:enumeration value="Chino"/>
          <xsd:enumeration value="Climax"/>
          <xsd:enumeration value="Climax Technology Center"/>
          <xsd:enumeration value="Cobre"/>
          <xsd:enumeration value="Colorado Data Center"/>
          <xsd:enumeration value="Cotton Center"/>
          <xsd:enumeration value="Data Center"/>
          <xsd:enumeration value="El Abra"/>
          <xsd:enumeration value="El Paso"/>
          <xsd:enumeration value="El Paso Refinery"/>
          <xsd:enumeration value="El Paso Rod"/>
          <xsd:enumeration value="Europe"/>
          <xsd:enumeration value="FMC"/>
          <xsd:enumeration value="Ft Madison"/>
          <xsd:enumeration value="Global"/>
          <xsd:enumeration value="Henderson"/>
          <xsd:enumeration value="Houston"/>
          <xsd:enumeration value="Huelva"/>
          <xsd:enumeration value="Jakarta"/>
          <xsd:enumeration value="Jerome"/>
          <xsd:enumeration value="Johannesburg"/>
          <xsd:enumeration value="Kinetics"/>
          <xsd:enumeration value="Kisanfu"/>
          <xsd:enumeration value="Kokkola"/>
          <xsd:enumeration value="Lafayette"/>
          <xsd:enumeration value="Lubumbashi"/>
          <xsd:enumeration value="Madrid"/>
          <xsd:enumeration value="Miami"/>
          <xsd:enumeration value="Miami Rod"/>
          <xsd:enumeration value="Miami Smelter"/>
          <xsd:enumeration value="Mine Training Institute"/>
          <xsd:enumeration value="Mining"/>
          <xsd:enumeration value="Morenci"/>
          <xsd:enumeration value="New Mexico"/>
          <xsd:enumeration value="NOLA"/>
          <xsd:enumeration value="North America"/>
          <xsd:enumeration value="Norwich"/>
          <xsd:enumeration value="Oil &amp; Gas"/>
          <xsd:enumeration value="Ojos del Salado"/>
          <xsd:enumeration value="Oro Valley"/>
          <xsd:enumeration value="Phoenix"/>
          <xsd:enumeration value="Processing"/>
          <xsd:enumeration value="PTFI"/>
          <xsd:enumeration value="Research &amp; Development"/>
          <xsd:enumeration value="Rotterdam"/>
          <xsd:enumeration value="Safford"/>
          <xsd:enumeration value="Safford Lab"/>
          <xsd:enumeration value="Safford Mine"/>
          <xsd:enumeration value="Sahuarita"/>
          <xsd:enumeration value="Sanchez"/>
          <xsd:enumeration value="Santiago Data Center"/>
          <xsd:enumeration value="Santiago"/>
          <xsd:enumeration value="Shanghai"/>
          <xsd:enumeration value="Sierrita"/>
          <xsd:enumeration value="Singapore"/>
          <xsd:enumeration value="South America"/>
          <xsd:enumeration value="Stowmarket"/>
          <xsd:enumeration value="Technology Center"/>
          <xsd:enumeration value="Tenke Fungurume"/>
          <xsd:enumeration value="Tohono"/>
          <xsd:enumeration value="Tokyo"/>
          <xsd:enumeration value="Tucson Office"/>
          <xsd:enumeration value="Twin Buttes"/>
          <xsd:enumeration value="Tyron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8c09b6-704d-411a-b466-b4564be81472" elementFormDefault="qualified">
    <xsd:import namespace="http://schemas.microsoft.com/office/2006/documentManagement/types"/>
    <xsd:import namespace="http://schemas.microsoft.com/office/infopath/2007/PartnerControls"/>
    <xsd:element name="Site" ma:index="18" nillable="true" ma:displayName="Site" ma:internalName="Si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b7e16863-b940-4291-96f8-ad8461baff96" ContentTypeId="0x01010046829DE55437B147B48D1766376E3D6B" PreviousValue="false"/>
</file>

<file path=customXml/itemProps1.xml><?xml version="1.0" encoding="utf-8"?>
<ds:datastoreItem xmlns:ds="http://schemas.openxmlformats.org/officeDocument/2006/customXml" ds:itemID="{16EF08CE-F0D8-4F60-914A-EB8892FBFAD8}">
  <ds:schemaRefs>
    <ds:schemaRef ds:uri="http://purl.org/dc/dcmitype/"/>
    <ds:schemaRef ds:uri="1c8c09b6-704d-411a-b466-b4564be81472"/>
    <ds:schemaRef ds:uri="http://www.w3.org/XML/1998/namespace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b5ba0a33-b247-4d4b-b9ae-c709af684fd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5302BCF-2963-4EE5-80D9-B00760561D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ba0a33-b247-4d4b-b9ae-c709af684fd3"/>
    <ds:schemaRef ds:uri="1c8c09b6-704d-411a-b466-b4564be814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9352AF1-5230-4CC1-89FF-1F16987DBC2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A6C0FA3-8ED0-4147-86DC-5E490260DA09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94</TotalTime>
  <Words>654</Words>
  <Application>Microsoft Office PowerPoint</Application>
  <PresentationFormat>Widescreen</PresentationFormat>
  <Paragraphs>66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badi</vt:lpstr>
      <vt:lpstr>Arial</vt:lpstr>
      <vt:lpstr>Calibri</vt:lpstr>
      <vt:lpstr>Courier New</vt:lpstr>
      <vt:lpstr>Open Sans</vt:lpstr>
      <vt:lpstr>Open Sans Light</vt:lpstr>
      <vt:lpstr>Poppins</vt:lpstr>
      <vt:lpstr>Poppins Light</vt:lpstr>
      <vt:lpstr>Poppins SemiBold</vt:lpstr>
      <vt:lpstr>1_Office Theme</vt:lpstr>
      <vt:lpstr>think-cell Slide</vt:lpstr>
      <vt:lpstr>PowerPoint Presentation</vt:lpstr>
      <vt:lpstr>DATOS GENERALES:</vt:lpstr>
      <vt:lpstr>PowerPoint Presentation</vt:lpstr>
      <vt:lpstr>PLAN DE AUDITORIA:</vt:lpstr>
      <vt:lpstr>PowerPoint Presentation</vt:lpstr>
      <vt:lpstr>REPORTE OPORTUNO DE INCIDENTES</vt:lpstr>
      <vt:lpstr>Gestion de Incidentes de SSO</vt:lpstr>
      <vt:lpstr>PowerPoint Presentation</vt:lpstr>
      <vt:lpstr>¿Cómo reportar una Emergencia?</vt:lpstr>
      <vt:lpstr>PowerPoint Presentation</vt:lpstr>
      <vt:lpstr>REPORTE DIARIO DE INCIDENTES DE SEGURIDAD</vt:lpstr>
      <vt:lpstr>SEGUIMIENTO DE INFORMES DE INVESTIGACION Y PLANES DE ACCIÓN</vt:lpstr>
      <vt:lpstr>PowerPoint Presentation</vt:lpstr>
      <vt:lpstr>PowerPoint Presentation</vt:lpstr>
      <vt:lpstr>Graci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ley, Kathy</dc:creator>
  <cp:lastModifiedBy>CACERES SANDOVAL, EVA MARIA</cp:lastModifiedBy>
  <cp:revision>14</cp:revision>
  <dcterms:created xsi:type="dcterms:W3CDTF">2024-04-12T13:29:24Z</dcterms:created>
  <dcterms:modified xsi:type="dcterms:W3CDTF">2025-01-20T19:4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M Doc Type">
    <vt:lpwstr>1;#Communication|ab0814dc-ad79-4add-a59b-e4976d8b9098</vt:lpwstr>
  </property>
  <property fmtid="{D5CDD505-2E9C-101B-9397-08002B2CF9AE}" pid="3" name="FM Retention Category">
    <vt:lpwstr>4;#Administration|5648ecb6-843d-42d8-8ec5-901cd2d614fb</vt:lpwstr>
  </property>
  <property fmtid="{D5CDD505-2E9C-101B-9397-08002B2CF9AE}" pid="4" name="ContentTypeId">
    <vt:lpwstr>0x01010046829DE55437B147B48D1766376E3D6B00B88FBAAEE5C20C4C9D69FB6CE39CD566</vt:lpwstr>
  </property>
  <property fmtid="{D5CDD505-2E9C-101B-9397-08002B2CF9AE}" pid="5" name="FM Ent Taxonomy">
    <vt:lpwstr>7;#Internal|78012a07-bc17-42a8-9dfa-203d907fea28</vt:lpwstr>
  </property>
  <property fmtid="{D5CDD505-2E9C-101B-9397-08002B2CF9AE}" pid="6" name="MSIP_Label_56f8a036-ae1b-4f85-92d3-f4203c03c43b_Enabled">
    <vt:lpwstr>true</vt:lpwstr>
  </property>
  <property fmtid="{D5CDD505-2E9C-101B-9397-08002B2CF9AE}" pid="7" name="MSIP_Label_56f8a036-ae1b-4f85-92d3-f4203c03c43b_SetDate">
    <vt:lpwstr>2022-05-03T17:30:49Z</vt:lpwstr>
  </property>
  <property fmtid="{D5CDD505-2E9C-101B-9397-08002B2CF9AE}" pid="8" name="MSIP_Label_56f8a036-ae1b-4f85-92d3-f4203c03c43b_Method">
    <vt:lpwstr>Standard</vt:lpwstr>
  </property>
  <property fmtid="{D5CDD505-2E9C-101B-9397-08002B2CF9AE}" pid="9" name="MSIP_Label_56f8a036-ae1b-4f85-92d3-f4203c03c43b_Name">
    <vt:lpwstr>56f8a036-ae1b-4f85-92d3-f4203c03c43b</vt:lpwstr>
  </property>
  <property fmtid="{D5CDD505-2E9C-101B-9397-08002B2CF9AE}" pid="10" name="MSIP_Label_56f8a036-ae1b-4f85-92d3-f4203c03c43b_SiteId">
    <vt:lpwstr>5f229ce1-773c-46ed-a6fa-974006fae097</vt:lpwstr>
  </property>
  <property fmtid="{D5CDD505-2E9C-101B-9397-08002B2CF9AE}" pid="11" name="MSIP_Label_56f8a036-ae1b-4f85-92d3-f4203c03c43b_ActionId">
    <vt:lpwstr>af53359f-22df-434c-a1dd-50aa34f91eb0</vt:lpwstr>
  </property>
  <property fmtid="{D5CDD505-2E9C-101B-9397-08002B2CF9AE}" pid="12" name="MSIP_Label_56f8a036-ae1b-4f85-92d3-f4203c03c43b_ContentBits">
    <vt:lpwstr>0</vt:lpwstr>
  </property>
  <property fmtid="{D5CDD505-2E9C-101B-9397-08002B2CF9AE}" pid="13" name="MediaServiceImageTags">
    <vt:lpwstr/>
  </property>
  <property fmtid="{D5CDD505-2E9C-101B-9397-08002B2CF9AE}" pid="14" name="lcf76f155ced4ddcb4097134ff3c332f">
    <vt:lpwstr/>
  </property>
</Properties>
</file>